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52"/>
  </p:notesMasterIdLst>
  <p:handoutMasterIdLst>
    <p:handoutMasterId r:id="rId53"/>
  </p:handoutMasterIdLst>
  <p:sldIdLst>
    <p:sldId id="1044" r:id="rId6"/>
    <p:sldId id="1007" r:id="rId7"/>
    <p:sldId id="1051" r:id="rId8"/>
    <p:sldId id="1057" r:id="rId9"/>
    <p:sldId id="1058" r:id="rId10"/>
    <p:sldId id="1059" r:id="rId11"/>
    <p:sldId id="1067" r:id="rId12"/>
    <p:sldId id="1056" r:id="rId13"/>
    <p:sldId id="1008" r:id="rId14"/>
    <p:sldId id="1052" r:id="rId15"/>
    <p:sldId id="1053" r:id="rId16"/>
    <p:sldId id="1064" r:id="rId17"/>
    <p:sldId id="1066" r:id="rId18"/>
    <p:sldId id="1065" r:id="rId19"/>
    <p:sldId id="1054" r:id="rId20"/>
    <p:sldId id="1063" r:id="rId21"/>
    <p:sldId id="2147469828" r:id="rId22"/>
    <p:sldId id="1055" r:id="rId23"/>
    <p:sldId id="2147469830" r:id="rId24"/>
    <p:sldId id="1068" r:id="rId25"/>
    <p:sldId id="1060" r:id="rId26"/>
    <p:sldId id="1061" r:id="rId27"/>
    <p:sldId id="1046" r:id="rId28"/>
    <p:sldId id="1049" r:id="rId29"/>
    <p:sldId id="2147469829" r:id="rId30"/>
    <p:sldId id="2147469831" r:id="rId31"/>
    <p:sldId id="2147469834" r:id="rId32"/>
    <p:sldId id="2147469835" r:id="rId33"/>
    <p:sldId id="2147469836" r:id="rId34"/>
    <p:sldId id="2147469833" r:id="rId35"/>
    <p:sldId id="2147469850" r:id="rId36"/>
    <p:sldId id="2147469837" r:id="rId37"/>
    <p:sldId id="2147469838" r:id="rId38"/>
    <p:sldId id="2147469843" r:id="rId39"/>
    <p:sldId id="2147469840" r:id="rId40"/>
    <p:sldId id="2147469841" r:id="rId41"/>
    <p:sldId id="2147469842" r:id="rId42"/>
    <p:sldId id="2147469845" r:id="rId43"/>
    <p:sldId id="2147469846" r:id="rId44"/>
    <p:sldId id="2147469847" r:id="rId45"/>
    <p:sldId id="2147469851" r:id="rId46"/>
    <p:sldId id="2147469848" r:id="rId47"/>
    <p:sldId id="2147469832" r:id="rId48"/>
    <p:sldId id="2147469849" r:id="rId49"/>
    <p:sldId id="1041" r:id="rId50"/>
    <p:sldId id="2147469852" r:id="rId51"/>
  </p:sldIdLst>
  <p:sldSz cx="12192000" cy="6858000"/>
  <p:notesSz cx="6858000" cy="9144000"/>
  <p:embeddedFontLst>
    <p:embeddedFont>
      <p:font typeface="Calibri" panose="020F0502020204030204" pitchFamily="34" charset="0"/>
      <p:regular r:id="rId54"/>
      <p:bold r:id="rId55"/>
      <p:italic r:id="rId56"/>
      <p:boldItalic r:id="rId57"/>
    </p:embeddedFont>
    <p:embeddedFont>
      <p:font typeface="Open Sans" panose="020B0606030504020204" pitchFamily="34" charset="0"/>
      <p:regular r:id="rId58"/>
      <p:bold r:id="rId59"/>
      <p:italic r:id="rId60"/>
      <p:boldItalic r:id="rId61"/>
    </p:embeddedFont>
    <p:embeddedFont>
      <p:font typeface="Segoe UI" panose="020B0502040204020203" pitchFamily="34" charset="0"/>
      <p:regular r:id="rId62"/>
      <p:bold r:id="rId63"/>
      <p:italic r:id="rId64"/>
      <p:boldItalic r:id="rId65"/>
    </p:embeddedFont>
    <p:embeddedFont>
      <p:font typeface="Ubuntu" panose="020B0504030602030204" pitchFamily="34" charset="0"/>
      <p:regular r:id="rId66"/>
      <p:bold r:id="rId67"/>
      <p:italic r:id="rId68"/>
      <p:boldItalic r:id="rId69"/>
    </p:embeddedFont>
    <p:embeddedFont>
      <p:font typeface="Ubuntu Light" panose="020B0304030602030204" pitchFamily="34" charset="0"/>
      <p:regular r:id="rId70"/>
      <p:italic r:id="rId71"/>
    </p:embeddedFont>
    <p:embeddedFont>
      <p:font typeface="Ubuntu Medium" panose="020B0504030602030204" pitchFamily="34" charset="0"/>
      <p:regular r:id="rId72"/>
      <p:italic r:id="rId73"/>
    </p:embeddedFont>
    <p:embeddedFont>
      <p:font typeface="Verdana" panose="020B0604030504040204" pitchFamily="34" charset="0"/>
      <p:regular r:id="rId74"/>
      <p:bold r:id="rId75"/>
      <p:italic r:id="rId76"/>
      <p:boldItalic r:id="rId77"/>
    </p:embeddedFont>
  </p:embeddedFontLst>
  <p:custDataLst>
    <p:tags r:id="rId7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0CE663-061C-0E44-A4A7-E59CEA039E16}" v="1922" dt="2022-05-18T17:43:30.2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247" autoAdjust="0"/>
    <p:restoredTop sz="95789" autoAdjust="0"/>
  </p:normalViewPr>
  <p:slideViewPr>
    <p:cSldViewPr>
      <p:cViewPr varScale="1">
        <p:scale>
          <a:sx n="78" d="100"/>
          <a:sy n="78" d="100"/>
        </p:scale>
        <p:origin x="176" y="81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10.fntdata"/><Relationship Id="rId68" Type="http://schemas.openxmlformats.org/officeDocument/2006/relationships/font" Target="fonts/font15.fntdata"/><Relationship Id="rId84" Type="http://schemas.microsoft.com/office/2015/10/relationships/revisionInfo" Target="revisionInfo.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handoutMaster" Target="handoutMasters/handoutMaster1.xml"/><Relationship Id="rId58" Type="http://schemas.openxmlformats.org/officeDocument/2006/relationships/font" Target="fonts/font5.fntdata"/><Relationship Id="rId74" Type="http://schemas.openxmlformats.org/officeDocument/2006/relationships/font" Target="fonts/font21.fntdata"/><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font" Target="fonts/font8.fntdata"/><Relationship Id="rId82"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77" Type="http://schemas.openxmlformats.org/officeDocument/2006/relationships/font" Target="fonts/font2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9.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font" Target="fonts/font17.fntdata"/><Relationship Id="rId75" Type="http://schemas.openxmlformats.org/officeDocument/2006/relationships/font" Target="fonts/font22.fntdata"/><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font" Target="fonts/font20.fntdata"/><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font" Target="fonts/font2.fntdata"/><Relationship Id="rId76" Type="http://schemas.openxmlformats.org/officeDocument/2006/relationships/font" Target="fonts/font23.fntdata"/><Relationship Id="rId7" Type="http://schemas.openxmlformats.org/officeDocument/2006/relationships/slide" Target="slides/slide2.xml"/><Relationship Id="rId71" Type="http://schemas.openxmlformats.org/officeDocument/2006/relationships/font" Target="fonts/font18.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font" Target="fonts/font1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 Ludvig Brattås" userId="3c382553f8c1b01a" providerId="LiveId" clId="{B80CE663-061C-0E44-A4A7-E59CEA039E16}"/>
    <pc:docChg chg="undo custSel addSld delSld modSld sldOrd">
      <pc:chgData name="Johan Ludvig Brattås" userId="3c382553f8c1b01a" providerId="LiveId" clId="{B80CE663-061C-0E44-A4A7-E59CEA039E16}" dt="2022-05-18T19:14:25.803" v="4170" actId="2696"/>
      <pc:docMkLst>
        <pc:docMk/>
      </pc:docMkLst>
      <pc:sldChg chg="modSp add del mod ord setBg">
        <pc:chgData name="Johan Ludvig Brattås" userId="3c382553f8c1b01a" providerId="LiveId" clId="{B80CE663-061C-0E44-A4A7-E59CEA039E16}" dt="2022-05-18T17:44:01.282" v="4167" actId="2696"/>
        <pc:sldMkLst>
          <pc:docMk/>
          <pc:sldMk cId="2589745380" sldId="257"/>
        </pc:sldMkLst>
        <pc:spChg chg="mod">
          <ac:chgData name="Johan Ludvig Brattås" userId="3c382553f8c1b01a" providerId="LiveId" clId="{B80CE663-061C-0E44-A4A7-E59CEA039E16}" dt="2022-05-18T17:43:24.732" v="4161" actId="1076"/>
          <ac:spMkLst>
            <pc:docMk/>
            <pc:sldMk cId="2589745380" sldId="257"/>
            <ac:spMk id="7" creationId="{57B88D73-A985-46A1-A4B2-7EDDD6D80C2A}"/>
          </ac:spMkLst>
        </pc:spChg>
      </pc:sldChg>
      <pc:sldChg chg="addSp delSp modSp add del mod">
        <pc:chgData name="Johan Ludvig Brattås" userId="3c382553f8c1b01a" providerId="LiveId" clId="{B80CE663-061C-0E44-A4A7-E59CEA039E16}" dt="2022-05-10T11:07:37.045" v="1559" actId="2696"/>
        <pc:sldMkLst>
          <pc:docMk/>
          <pc:sldMk cId="596057869" sldId="260"/>
        </pc:sldMkLst>
        <pc:spChg chg="add mod">
          <ac:chgData name="Johan Ludvig Brattås" userId="3c382553f8c1b01a" providerId="LiveId" clId="{B80CE663-061C-0E44-A4A7-E59CEA039E16}" dt="2022-05-10T11:07:12.141" v="1552" actId="21"/>
          <ac:spMkLst>
            <pc:docMk/>
            <pc:sldMk cId="596057869" sldId="260"/>
            <ac:spMk id="4" creationId="{54C27537-318A-D8CA-B443-09FB2FAAFDDB}"/>
          </ac:spMkLst>
        </pc:spChg>
        <pc:spChg chg="mod">
          <ac:chgData name="Johan Ludvig Brattås" userId="3c382553f8c1b01a" providerId="LiveId" clId="{B80CE663-061C-0E44-A4A7-E59CEA039E16}" dt="2022-05-10T11:04:24.429" v="1439" actId="1076"/>
          <ac:spMkLst>
            <pc:docMk/>
            <pc:sldMk cId="596057869" sldId="260"/>
            <ac:spMk id="9" creationId="{D8B9142C-672D-434C-BE54-3FC27CEE8FBE}"/>
          </ac:spMkLst>
        </pc:spChg>
        <pc:picChg chg="del mod">
          <ac:chgData name="Johan Ludvig Brattås" userId="3c382553f8c1b01a" providerId="LiveId" clId="{B80CE663-061C-0E44-A4A7-E59CEA039E16}" dt="2022-05-10T11:07:12.141" v="1552" actId="21"/>
          <ac:picMkLst>
            <pc:docMk/>
            <pc:sldMk cId="596057869" sldId="260"/>
            <ac:picMk id="3" creationId="{A0BAEBB0-CFC8-43FC-91BD-A4DA7C1F8F33}"/>
          </ac:picMkLst>
        </pc:picChg>
      </pc:sldChg>
      <pc:sldChg chg="del">
        <pc:chgData name="Johan Ludvig Brattås" userId="3c382553f8c1b01a" providerId="LiveId" clId="{B80CE663-061C-0E44-A4A7-E59CEA039E16}" dt="2022-05-10T13:05:59.824" v="3981" actId="2696"/>
        <pc:sldMkLst>
          <pc:docMk/>
          <pc:sldMk cId="3325723125" sldId="261"/>
        </pc:sldMkLst>
      </pc:sldChg>
      <pc:sldChg chg="del">
        <pc:chgData name="Johan Ludvig Brattås" userId="3c382553f8c1b01a" providerId="LiveId" clId="{B80CE663-061C-0E44-A4A7-E59CEA039E16}" dt="2022-05-10T13:05:59.824" v="3981" actId="2696"/>
        <pc:sldMkLst>
          <pc:docMk/>
          <pc:sldMk cId="0" sldId="265"/>
        </pc:sldMkLst>
      </pc:sldChg>
      <pc:sldChg chg="del">
        <pc:chgData name="Johan Ludvig Brattås" userId="3c382553f8c1b01a" providerId="LiveId" clId="{B80CE663-061C-0E44-A4A7-E59CEA039E16}" dt="2022-05-10T13:05:59.824" v="3981" actId="2696"/>
        <pc:sldMkLst>
          <pc:docMk/>
          <pc:sldMk cId="0" sldId="266"/>
        </pc:sldMkLst>
      </pc:sldChg>
      <pc:sldChg chg="del">
        <pc:chgData name="Johan Ludvig Brattås" userId="3c382553f8c1b01a" providerId="LiveId" clId="{B80CE663-061C-0E44-A4A7-E59CEA039E16}" dt="2022-05-10T13:05:59.824" v="3981" actId="2696"/>
        <pc:sldMkLst>
          <pc:docMk/>
          <pc:sldMk cId="0" sldId="267"/>
        </pc:sldMkLst>
      </pc:sldChg>
      <pc:sldChg chg="del">
        <pc:chgData name="Johan Ludvig Brattås" userId="3c382553f8c1b01a" providerId="LiveId" clId="{B80CE663-061C-0E44-A4A7-E59CEA039E16}" dt="2022-05-10T13:06:05.612" v="3982" actId="2696"/>
        <pc:sldMkLst>
          <pc:docMk/>
          <pc:sldMk cId="3351895472" sldId="269"/>
        </pc:sldMkLst>
      </pc:sldChg>
      <pc:sldChg chg="del">
        <pc:chgData name="Johan Ludvig Brattås" userId="3c382553f8c1b01a" providerId="LiveId" clId="{B80CE663-061C-0E44-A4A7-E59CEA039E16}" dt="2022-05-10T13:06:05.612" v="3982" actId="2696"/>
        <pc:sldMkLst>
          <pc:docMk/>
          <pc:sldMk cId="2748317613" sldId="270"/>
        </pc:sldMkLst>
      </pc:sldChg>
      <pc:sldChg chg="del">
        <pc:chgData name="Johan Ludvig Brattås" userId="3c382553f8c1b01a" providerId="LiveId" clId="{B80CE663-061C-0E44-A4A7-E59CEA039E16}" dt="2022-05-10T13:05:59.824" v="3981" actId="2696"/>
        <pc:sldMkLst>
          <pc:docMk/>
          <pc:sldMk cId="1511558606" sldId="273"/>
        </pc:sldMkLst>
      </pc:sldChg>
      <pc:sldChg chg="del">
        <pc:chgData name="Johan Ludvig Brattås" userId="3c382553f8c1b01a" providerId="LiveId" clId="{B80CE663-061C-0E44-A4A7-E59CEA039E16}" dt="2022-05-10T13:05:59.824" v="3981" actId="2696"/>
        <pc:sldMkLst>
          <pc:docMk/>
          <pc:sldMk cId="0" sldId="285"/>
        </pc:sldMkLst>
      </pc:sldChg>
      <pc:sldChg chg="del">
        <pc:chgData name="Johan Ludvig Brattås" userId="3c382553f8c1b01a" providerId="LiveId" clId="{B80CE663-061C-0E44-A4A7-E59CEA039E16}" dt="2022-05-10T13:06:05.612" v="3982" actId="2696"/>
        <pc:sldMkLst>
          <pc:docMk/>
          <pc:sldMk cId="3274340437" sldId="414"/>
        </pc:sldMkLst>
      </pc:sldChg>
      <pc:sldChg chg="del">
        <pc:chgData name="Johan Ludvig Brattås" userId="3c382553f8c1b01a" providerId="LiveId" clId="{B80CE663-061C-0E44-A4A7-E59CEA039E16}" dt="2022-05-10T13:05:59.824" v="3981" actId="2696"/>
        <pc:sldMkLst>
          <pc:docMk/>
          <pc:sldMk cId="2090895030" sldId="638"/>
        </pc:sldMkLst>
      </pc:sldChg>
      <pc:sldChg chg="del">
        <pc:chgData name="Johan Ludvig Brattås" userId="3c382553f8c1b01a" providerId="LiveId" clId="{B80CE663-061C-0E44-A4A7-E59CEA039E16}" dt="2022-05-10T13:06:05.612" v="3982" actId="2696"/>
        <pc:sldMkLst>
          <pc:docMk/>
          <pc:sldMk cId="297369113" sldId="995"/>
        </pc:sldMkLst>
      </pc:sldChg>
      <pc:sldChg chg="del">
        <pc:chgData name="Johan Ludvig Brattås" userId="3c382553f8c1b01a" providerId="LiveId" clId="{B80CE663-061C-0E44-A4A7-E59CEA039E16}" dt="2022-05-10T13:06:05.612" v="3982" actId="2696"/>
        <pc:sldMkLst>
          <pc:docMk/>
          <pc:sldMk cId="583849201" sldId="996"/>
        </pc:sldMkLst>
      </pc:sldChg>
      <pc:sldChg chg="del">
        <pc:chgData name="Johan Ludvig Brattås" userId="3c382553f8c1b01a" providerId="LiveId" clId="{B80CE663-061C-0E44-A4A7-E59CEA039E16}" dt="2022-05-10T13:05:59.824" v="3981" actId="2696"/>
        <pc:sldMkLst>
          <pc:docMk/>
          <pc:sldMk cId="3719125456" sldId="999"/>
        </pc:sldMkLst>
      </pc:sldChg>
      <pc:sldChg chg="modSp mod">
        <pc:chgData name="Johan Ludvig Brattås" userId="3c382553f8c1b01a" providerId="LiveId" clId="{B80CE663-061C-0E44-A4A7-E59CEA039E16}" dt="2022-05-18T17:24:49.251" v="4128" actId="20577"/>
        <pc:sldMkLst>
          <pc:docMk/>
          <pc:sldMk cId="25912999" sldId="1007"/>
        </pc:sldMkLst>
        <pc:spChg chg="mod">
          <ac:chgData name="Johan Ludvig Brattås" userId="3c382553f8c1b01a" providerId="LiveId" clId="{B80CE663-061C-0E44-A4A7-E59CEA039E16}" dt="2022-05-18T17:24:49.251" v="4128" actId="20577"/>
          <ac:spMkLst>
            <pc:docMk/>
            <pc:sldMk cId="25912999" sldId="1007"/>
            <ac:spMk id="8" creationId="{145E7C48-DD2C-40CC-B16F-A84911D789EE}"/>
          </ac:spMkLst>
        </pc:spChg>
      </pc:sldChg>
      <pc:sldChg chg="addSp delSp modSp mod modAnim">
        <pc:chgData name="Johan Ludvig Brattås" userId="3c382553f8c1b01a" providerId="LiveId" clId="{B80CE663-061C-0E44-A4A7-E59CEA039E16}" dt="2022-05-10T10:43:02.138" v="1344" actId="18131"/>
        <pc:sldMkLst>
          <pc:docMk/>
          <pc:sldMk cId="4223175608" sldId="1008"/>
        </pc:sldMkLst>
        <pc:spChg chg="mod">
          <ac:chgData name="Johan Ludvig Brattås" userId="3c382553f8c1b01a" providerId="LiveId" clId="{B80CE663-061C-0E44-A4A7-E59CEA039E16}" dt="2022-05-10T10:39:52.031" v="1329" actId="20577"/>
          <ac:spMkLst>
            <pc:docMk/>
            <pc:sldMk cId="4223175608" sldId="1008"/>
            <ac:spMk id="5" creationId="{F3C66C73-6C2C-4EB1-9316-DFAB45100393}"/>
          </ac:spMkLst>
        </pc:spChg>
        <pc:spChg chg="add del mod">
          <ac:chgData name="Johan Ludvig Brattås" userId="3c382553f8c1b01a" providerId="LiveId" clId="{B80CE663-061C-0E44-A4A7-E59CEA039E16}" dt="2022-05-10T10:40:43.171" v="1334" actId="478"/>
          <ac:spMkLst>
            <pc:docMk/>
            <pc:sldMk cId="4223175608" sldId="1008"/>
            <ac:spMk id="6" creationId="{28D71498-01C1-16BE-F513-764CB87B296A}"/>
          </ac:spMkLst>
        </pc:spChg>
        <pc:spChg chg="add del mod">
          <ac:chgData name="Johan Ludvig Brattås" userId="3c382553f8c1b01a" providerId="LiveId" clId="{B80CE663-061C-0E44-A4A7-E59CEA039E16}" dt="2022-05-10T10:41:00.282" v="1335" actId="931"/>
          <ac:spMkLst>
            <pc:docMk/>
            <pc:sldMk cId="4223175608" sldId="1008"/>
            <ac:spMk id="8" creationId="{9C0BF328-2D83-81F7-34DA-DACA6AFAAEAE}"/>
          </ac:spMkLst>
        </pc:spChg>
        <pc:spChg chg="add del mod">
          <ac:chgData name="Johan Ludvig Brattås" userId="3c382553f8c1b01a" providerId="LiveId" clId="{B80CE663-061C-0E44-A4A7-E59CEA039E16}" dt="2022-05-10T10:42:10.766" v="1341" actId="478"/>
          <ac:spMkLst>
            <pc:docMk/>
            <pc:sldMk cId="4223175608" sldId="1008"/>
            <ac:spMk id="11" creationId="{105DD5E9-F949-E0BE-CF3B-FA14BB17B828}"/>
          </ac:spMkLst>
        </pc:spChg>
        <pc:spChg chg="add del mod">
          <ac:chgData name="Johan Ludvig Brattås" userId="3c382553f8c1b01a" providerId="LiveId" clId="{B80CE663-061C-0E44-A4A7-E59CEA039E16}" dt="2022-05-10T10:42:13.872" v="1342" actId="931"/>
          <ac:spMkLst>
            <pc:docMk/>
            <pc:sldMk cId="4223175608" sldId="1008"/>
            <ac:spMk id="14" creationId="{FF4772A3-2AF2-CB65-ECBB-8EA41B2757EA}"/>
          </ac:spMkLst>
        </pc:spChg>
        <pc:spChg chg="add mod">
          <ac:chgData name="Johan Ludvig Brattås" userId="3c382553f8c1b01a" providerId="LiveId" clId="{B80CE663-061C-0E44-A4A7-E59CEA039E16}" dt="2022-05-10T10:42:13.872" v="1342" actId="931"/>
          <ac:spMkLst>
            <pc:docMk/>
            <pc:sldMk cId="4223175608" sldId="1008"/>
            <ac:spMk id="18" creationId="{1F5AB3D0-9C9E-DE48-0983-7E77FA622655}"/>
          </ac:spMkLst>
        </pc:spChg>
        <pc:picChg chg="add del mod">
          <ac:chgData name="Johan Ludvig Brattås" userId="3c382553f8c1b01a" providerId="LiveId" clId="{B80CE663-061C-0E44-A4A7-E59CEA039E16}" dt="2022-05-10T10:40:43.171" v="1334" actId="478"/>
          <ac:picMkLst>
            <pc:docMk/>
            <pc:sldMk cId="4223175608" sldId="1008"/>
            <ac:picMk id="3" creationId="{FD6F267F-5A08-08D0-9CBA-1E9A5CCD21C5}"/>
          </ac:picMkLst>
        </pc:picChg>
        <pc:picChg chg="add del mod modCrop">
          <ac:chgData name="Johan Ludvig Brattås" userId="3c382553f8c1b01a" providerId="LiveId" clId="{B80CE663-061C-0E44-A4A7-E59CEA039E16}" dt="2022-05-10T10:42:10.766" v="1341" actId="478"/>
          <ac:picMkLst>
            <pc:docMk/>
            <pc:sldMk cId="4223175608" sldId="1008"/>
            <ac:picMk id="10" creationId="{3CF00826-014C-9786-903D-D2BB0EA3A074}"/>
          </ac:picMkLst>
        </pc:picChg>
        <pc:picChg chg="del mod">
          <ac:chgData name="Johan Ludvig Brattås" userId="3c382553f8c1b01a" providerId="LiveId" clId="{B80CE663-061C-0E44-A4A7-E59CEA039E16}" dt="2022-05-10T10:40:39.533" v="1333" actId="478"/>
          <ac:picMkLst>
            <pc:docMk/>
            <pc:sldMk cId="4223175608" sldId="1008"/>
            <ac:picMk id="13" creationId="{C46B6C41-962A-417A-A4AB-9FDB79D2701B}"/>
          </ac:picMkLst>
        </pc:picChg>
        <pc:picChg chg="add mod modCrop">
          <ac:chgData name="Johan Ludvig Brattås" userId="3c382553f8c1b01a" providerId="LiveId" clId="{B80CE663-061C-0E44-A4A7-E59CEA039E16}" dt="2022-05-10T10:43:02.138" v="1344" actId="18131"/>
          <ac:picMkLst>
            <pc:docMk/>
            <pc:sldMk cId="4223175608" sldId="1008"/>
            <ac:picMk id="17" creationId="{60F918EA-6364-608A-AD54-880A4BC83BF0}"/>
          </ac:picMkLst>
        </pc:picChg>
      </pc:sldChg>
      <pc:sldChg chg="del">
        <pc:chgData name="Johan Ludvig Brattås" userId="3c382553f8c1b01a" providerId="LiveId" clId="{B80CE663-061C-0E44-A4A7-E59CEA039E16}" dt="2022-05-10T13:05:59.824" v="3981" actId="2696"/>
        <pc:sldMkLst>
          <pc:docMk/>
          <pc:sldMk cId="650130758" sldId="1009"/>
        </pc:sldMkLst>
      </pc:sldChg>
      <pc:sldChg chg="del">
        <pc:chgData name="Johan Ludvig Brattås" userId="3c382553f8c1b01a" providerId="LiveId" clId="{B80CE663-061C-0E44-A4A7-E59CEA039E16}" dt="2022-05-10T13:05:59.824" v="3981" actId="2696"/>
        <pc:sldMkLst>
          <pc:docMk/>
          <pc:sldMk cId="361851707" sldId="1010"/>
        </pc:sldMkLst>
      </pc:sldChg>
      <pc:sldChg chg="del">
        <pc:chgData name="Johan Ludvig Brattås" userId="3c382553f8c1b01a" providerId="LiveId" clId="{B80CE663-061C-0E44-A4A7-E59CEA039E16}" dt="2022-05-10T13:05:59.824" v="3981" actId="2696"/>
        <pc:sldMkLst>
          <pc:docMk/>
          <pc:sldMk cId="1027057132" sldId="1011"/>
        </pc:sldMkLst>
      </pc:sldChg>
      <pc:sldChg chg="del">
        <pc:chgData name="Johan Ludvig Brattås" userId="3c382553f8c1b01a" providerId="LiveId" clId="{B80CE663-061C-0E44-A4A7-E59CEA039E16}" dt="2022-05-10T13:05:59.824" v="3981" actId="2696"/>
        <pc:sldMkLst>
          <pc:docMk/>
          <pc:sldMk cId="2424636910" sldId="1015"/>
        </pc:sldMkLst>
      </pc:sldChg>
      <pc:sldChg chg="del">
        <pc:chgData name="Johan Ludvig Brattås" userId="3c382553f8c1b01a" providerId="LiveId" clId="{B80CE663-061C-0E44-A4A7-E59CEA039E16}" dt="2022-05-10T13:05:59.824" v="3981" actId="2696"/>
        <pc:sldMkLst>
          <pc:docMk/>
          <pc:sldMk cId="3867284894" sldId="1023"/>
        </pc:sldMkLst>
      </pc:sldChg>
      <pc:sldChg chg="del">
        <pc:chgData name="Johan Ludvig Brattås" userId="3c382553f8c1b01a" providerId="LiveId" clId="{B80CE663-061C-0E44-A4A7-E59CEA039E16}" dt="2022-05-10T13:06:05.612" v="3982" actId="2696"/>
        <pc:sldMkLst>
          <pc:docMk/>
          <pc:sldMk cId="2834902262" sldId="1025"/>
        </pc:sldMkLst>
      </pc:sldChg>
      <pc:sldChg chg="del">
        <pc:chgData name="Johan Ludvig Brattås" userId="3c382553f8c1b01a" providerId="LiveId" clId="{B80CE663-061C-0E44-A4A7-E59CEA039E16}" dt="2022-05-10T13:05:59.824" v="3981" actId="2696"/>
        <pc:sldMkLst>
          <pc:docMk/>
          <pc:sldMk cId="1044416223" sldId="1027"/>
        </pc:sldMkLst>
      </pc:sldChg>
      <pc:sldChg chg="del">
        <pc:chgData name="Johan Ludvig Brattås" userId="3c382553f8c1b01a" providerId="LiveId" clId="{B80CE663-061C-0E44-A4A7-E59CEA039E16}" dt="2022-05-18T19:14:19.938" v="4169" actId="2696"/>
        <pc:sldMkLst>
          <pc:docMk/>
          <pc:sldMk cId="2102347676" sldId="1028"/>
        </pc:sldMkLst>
      </pc:sldChg>
      <pc:sldChg chg="del">
        <pc:chgData name="Johan Ludvig Brattås" userId="3c382553f8c1b01a" providerId="LiveId" clId="{B80CE663-061C-0E44-A4A7-E59CEA039E16}" dt="2022-05-10T13:06:05.612" v="3982" actId="2696"/>
        <pc:sldMkLst>
          <pc:docMk/>
          <pc:sldMk cId="551170481" sldId="1030"/>
        </pc:sldMkLst>
      </pc:sldChg>
      <pc:sldChg chg="del">
        <pc:chgData name="Johan Ludvig Brattås" userId="3c382553f8c1b01a" providerId="LiveId" clId="{B80CE663-061C-0E44-A4A7-E59CEA039E16}" dt="2022-05-10T13:05:59.824" v="3981" actId="2696"/>
        <pc:sldMkLst>
          <pc:docMk/>
          <pc:sldMk cId="1831704493" sldId="1033"/>
        </pc:sldMkLst>
      </pc:sldChg>
      <pc:sldChg chg="del">
        <pc:chgData name="Johan Ludvig Brattås" userId="3c382553f8c1b01a" providerId="LiveId" clId="{B80CE663-061C-0E44-A4A7-E59CEA039E16}" dt="2022-05-10T13:05:59.824" v="3981" actId="2696"/>
        <pc:sldMkLst>
          <pc:docMk/>
          <pc:sldMk cId="4018847470" sldId="1037"/>
        </pc:sldMkLst>
      </pc:sldChg>
      <pc:sldChg chg="del">
        <pc:chgData name="Johan Ludvig Brattås" userId="3c382553f8c1b01a" providerId="LiveId" clId="{B80CE663-061C-0E44-A4A7-E59CEA039E16}" dt="2022-05-10T13:05:59.824" v="3981" actId="2696"/>
        <pc:sldMkLst>
          <pc:docMk/>
          <pc:sldMk cId="4260905200" sldId="1038"/>
        </pc:sldMkLst>
      </pc:sldChg>
      <pc:sldChg chg="del">
        <pc:chgData name="Johan Ludvig Brattås" userId="3c382553f8c1b01a" providerId="LiveId" clId="{B80CE663-061C-0E44-A4A7-E59CEA039E16}" dt="2022-05-10T13:05:59.824" v="3981" actId="2696"/>
        <pc:sldMkLst>
          <pc:docMk/>
          <pc:sldMk cId="998745995" sldId="1039"/>
        </pc:sldMkLst>
      </pc:sldChg>
      <pc:sldChg chg="addSp delSp modSp mod ord">
        <pc:chgData name="Johan Ludvig Brattås" userId="3c382553f8c1b01a" providerId="LiveId" clId="{B80CE663-061C-0E44-A4A7-E59CEA039E16}" dt="2022-05-18T17:44:04.420" v="4168" actId="20578"/>
        <pc:sldMkLst>
          <pc:docMk/>
          <pc:sldMk cId="141659568" sldId="1041"/>
        </pc:sldMkLst>
        <pc:spChg chg="del">
          <ac:chgData name="Johan Ludvig Brattås" userId="3c382553f8c1b01a" providerId="LiveId" clId="{B80CE663-061C-0E44-A4A7-E59CEA039E16}" dt="2022-05-18T17:43:12.445" v="4158" actId="478"/>
          <ac:spMkLst>
            <pc:docMk/>
            <pc:sldMk cId="141659568" sldId="1041"/>
            <ac:spMk id="3" creationId="{F84584AC-DBBE-4B47-9A7E-7A7C2D8CF196}"/>
          </ac:spMkLst>
        </pc:spChg>
        <pc:spChg chg="add del mod">
          <ac:chgData name="Johan Ludvig Brattås" userId="3c382553f8c1b01a" providerId="LiveId" clId="{B80CE663-061C-0E44-A4A7-E59CEA039E16}" dt="2022-05-18T17:43:17.593" v="4159" actId="478"/>
          <ac:spMkLst>
            <pc:docMk/>
            <pc:sldMk cId="141659568" sldId="1041"/>
            <ac:spMk id="4" creationId="{C13750DF-9F99-F5A9-5096-C867D93B35F0}"/>
          </ac:spMkLst>
        </pc:spChg>
        <pc:spChg chg="add mod">
          <ac:chgData name="Johan Ludvig Brattås" userId="3c382553f8c1b01a" providerId="LiveId" clId="{B80CE663-061C-0E44-A4A7-E59CEA039E16}" dt="2022-05-18T17:43:50.585" v="4165" actId="207"/>
          <ac:spMkLst>
            <pc:docMk/>
            <pc:sldMk cId="141659568" sldId="1041"/>
            <ac:spMk id="7" creationId="{94C671BA-1A60-C7F5-4E5F-167404D33E92}"/>
          </ac:spMkLst>
        </pc:spChg>
        <pc:spChg chg="add mod">
          <ac:chgData name="Johan Ludvig Brattås" userId="3c382553f8c1b01a" providerId="LiveId" clId="{B80CE663-061C-0E44-A4A7-E59CEA039E16}" dt="2022-05-18T17:43:47.382" v="4164" actId="207"/>
          <ac:spMkLst>
            <pc:docMk/>
            <pc:sldMk cId="141659568" sldId="1041"/>
            <ac:spMk id="8" creationId="{DCADE157-37A0-03AD-F083-EAC742E02C1D}"/>
          </ac:spMkLst>
        </pc:spChg>
        <pc:spChg chg="add mod">
          <ac:chgData name="Johan Ludvig Brattås" userId="3c382553f8c1b01a" providerId="LiveId" clId="{B80CE663-061C-0E44-A4A7-E59CEA039E16}" dt="2022-05-18T17:43:55.121" v="4166" actId="6549"/>
          <ac:spMkLst>
            <pc:docMk/>
            <pc:sldMk cId="141659568" sldId="1041"/>
            <ac:spMk id="9" creationId="{D0D679CE-4FEF-2523-0E6B-343EF1D9D259}"/>
          </ac:spMkLst>
        </pc:spChg>
        <pc:spChg chg="add mod">
          <ac:chgData name="Johan Ludvig Brattås" userId="3c382553f8c1b01a" providerId="LiveId" clId="{B80CE663-061C-0E44-A4A7-E59CEA039E16}" dt="2022-05-18T17:43:42.244" v="4163" actId="207"/>
          <ac:spMkLst>
            <pc:docMk/>
            <pc:sldMk cId="141659568" sldId="1041"/>
            <ac:spMk id="10" creationId="{7A797E15-C32F-CC72-8EAB-EA860E3B2285}"/>
          </ac:spMkLst>
        </pc:spChg>
        <pc:spChg chg="add mod">
          <ac:chgData name="Johan Ludvig Brattås" userId="3c382553f8c1b01a" providerId="LiveId" clId="{B80CE663-061C-0E44-A4A7-E59CEA039E16}" dt="2022-05-18T17:43:30.256" v="4162"/>
          <ac:spMkLst>
            <pc:docMk/>
            <pc:sldMk cId="141659568" sldId="1041"/>
            <ac:spMk id="14" creationId="{2C8AE221-1C63-0481-80FF-7653CEF2443D}"/>
          </ac:spMkLst>
        </pc:spChg>
        <pc:spChg chg="add mod">
          <ac:chgData name="Johan Ludvig Brattås" userId="3c382553f8c1b01a" providerId="LiveId" clId="{B80CE663-061C-0E44-A4A7-E59CEA039E16}" dt="2022-05-18T17:43:30.256" v="4162"/>
          <ac:spMkLst>
            <pc:docMk/>
            <pc:sldMk cId="141659568" sldId="1041"/>
            <ac:spMk id="15" creationId="{0EA04DA9-1129-B5DE-CC98-6CB070E628D0}"/>
          </ac:spMkLst>
        </pc:spChg>
        <pc:spChg chg="mod">
          <ac:chgData name="Johan Ludvig Brattås" userId="3c382553f8c1b01a" providerId="LiveId" clId="{B80CE663-061C-0E44-A4A7-E59CEA039E16}" dt="2022-05-18T17:43:30.256" v="4162"/>
          <ac:spMkLst>
            <pc:docMk/>
            <pc:sldMk cId="141659568" sldId="1041"/>
            <ac:spMk id="17" creationId="{FECE6B76-AB7C-E154-1A12-190CCB0A6577}"/>
          </ac:spMkLst>
        </pc:spChg>
        <pc:spChg chg="mod">
          <ac:chgData name="Johan Ludvig Brattås" userId="3c382553f8c1b01a" providerId="LiveId" clId="{B80CE663-061C-0E44-A4A7-E59CEA039E16}" dt="2022-05-18T17:43:30.256" v="4162"/>
          <ac:spMkLst>
            <pc:docMk/>
            <pc:sldMk cId="141659568" sldId="1041"/>
            <ac:spMk id="18" creationId="{DBF87575-5B53-31D0-9853-4A649045584E}"/>
          </ac:spMkLst>
        </pc:spChg>
        <pc:spChg chg="mod">
          <ac:chgData name="Johan Ludvig Brattås" userId="3c382553f8c1b01a" providerId="LiveId" clId="{B80CE663-061C-0E44-A4A7-E59CEA039E16}" dt="2022-05-18T17:43:30.256" v="4162"/>
          <ac:spMkLst>
            <pc:docMk/>
            <pc:sldMk cId="141659568" sldId="1041"/>
            <ac:spMk id="20" creationId="{3C09DAE0-6D31-A44A-AC49-813278F353FE}"/>
          </ac:spMkLst>
        </pc:spChg>
        <pc:spChg chg="mod">
          <ac:chgData name="Johan Ludvig Brattås" userId="3c382553f8c1b01a" providerId="LiveId" clId="{B80CE663-061C-0E44-A4A7-E59CEA039E16}" dt="2022-05-18T17:43:30.256" v="4162"/>
          <ac:spMkLst>
            <pc:docMk/>
            <pc:sldMk cId="141659568" sldId="1041"/>
            <ac:spMk id="22" creationId="{5671938C-5E89-B5BF-EB04-8E93FBA5E2AF}"/>
          </ac:spMkLst>
        </pc:spChg>
        <pc:spChg chg="mod">
          <ac:chgData name="Johan Ludvig Brattås" userId="3c382553f8c1b01a" providerId="LiveId" clId="{B80CE663-061C-0E44-A4A7-E59CEA039E16}" dt="2022-05-18T17:43:30.256" v="4162"/>
          <ac:spMkLst>
            <pc:docMk/>
            <pc:sldMk cId="141659568" sldId="1041"/>
            <ac:spMk id="23" creationId="{8D636612-8AE9-8E4D-6201-E6F919DD84E6}"/>
          </ac:spMkLst>
        </pc:spChg>
        <pc:spChg chg="mod">
          <ac:chgData name="Johan Ludvig Brattås" userId="3c382553f8c1b01a" providerId="LiveId" clId="{B80CE663-061C-0E44-A4A7-E59CEA039E16}" dt="2022-05-18T17:43:30.256" v="4162"/>
          <ac:spMkLst>
            <pc:docMk/>
            <pc:sldMk cId="141659568" sldId="1041"/>
            <ac:spMk id="24" creationId="{C7FEA95B-E975-E627-385F-E698FADCC046}"/>
          </ac:spMkLst>
        </pc:spChg>
        <pc:spChg chg="add mod">
          <ac:chgData name="Johan Ludvig Brattås" userId="3c382553f8c1b01a" providerId="LiveId" clId="{B80CE663-061C-0E44-A4A7-E59CEA039E16}" dt="2022-05-18T17:43:30.256" v="4162"/>
          <ac:spMkLst>
            <pc:docMk/>
            <pc:sldMk cId="141659568" sldId="1041"/>
            <ac:spMk id="25" creationId="{865AC1CD-3FBC-72D0-E231-4352C3BEB10A}"/>
          </ac:spMkLst>
        </pc:spChg>
        <pc:grpChg chg="add mod">
          <ac:chgData name="Johan Ludvig Brattås" userId="3c382553f8c1b01a" providerId="LiveId" clId="{B80CE663-061C-0E44-A4A7-E59CEA039E16}" dt="2022-05-18T17:43:30.256" v="4162"/>
          <ac:grpSpMkLst>
            <pc:docMk/>
            <pc:sldMk cId="141659568" sldId="1041"/>
            <ac:grpSpMk id="16" creationId="{27516597-AEF7-2023-06C9-503597FF20C9}"/>
          </ac:grpSpMkLst>
        </pc:grpChg>
        <pc:grpChg chg="add mod">
          <ac:chgData name="Johan Ludvig Brattås" userId="3c382553f8c1b01a" providerId="LiveId" clId="{B80CE663-061C-0E44-A4A7-E59CEA039E16}" dt="2022-05-18T17:43:30.256" v="4162"/>
          <ac:grpSpMkLst>
            <pc:docMk/>
            <pc:sldMk cId="141659568" sldId="1041"/>
            <ac:grpSpMk id="19" creationId="{C9E096E8-2B26-A864-5538-3C188D0EE7C0}"/>
          </ac:grpSpMkLst>
        </pc:grpChg>
        <pc:grpChg chg="mod">
          <ac:chgData name="Johan Ludvig Brattås" userId="3c382553f8c1b01a" providerId="LiveId" clId="{B80CE663-061C-0E44-A4A7-E59CEA039E16}" dt="2022-05-18T17:43:30.256" v="4162"/>
          <ac:grpSpMkLst>
            <pc:docMk/>
            <pc:sldMk cId="141659568" sldId="1041"/>
            <ac:grpSpMk id="21" creationId="{186D4776-9C0C-51D2-E3C8-C3FD496E82C3}"/>
          </ac:grpSpMkLst>
        </pc:grpChg>
        <pc:picChg chg="add mod">
          <ac:chgData name="Johan Ludvig Brattås" userId="3c382553f8c1b01a" providerId="LiveId" clId="{B80CE663-061C-0E44-A4A7-E59CEA039E16}" dt="2022-05-18T17:43:30.256" v="4162"/>
          <ac:picMkLst>
            <pc:docMk/>
            <pc:sldMk cId="141659568" sldId="1041"/>
            <ac:picMk id="11" creationId="{2B817B92-929E-0942-C0F0-223937F73E3E}"/>
          </ac:picMkLst>
        </pc:picChg>
        <pc:picChg chg="add mod">
          <ac:chgData name="Johan Ludvig Brattås" userId="3c382553f8c1b01a" providerId="LiveId" clId="{B80CE663-061C-0E44-A4A7-E59CEA039E16}" dt="2022-05-18T17:43:30.256" v="4162"/>
          <ac:picMkLst>
            <pc:docMk/>
            <pc:sldMk cId="141659568" sldId="1041"/>
            <ac:picMk id="13" creationId="{9F2AC281-A25B-093A-E9C0-EF0C3B35E27F}"/>
          </ac:picMkLst>
        </pc:picChg>
        <pc:picChg chg="add mod">
          <ac:chgData name="Johan Ludvig Brattås" userId="3c382553f8c1b01a" providerId="LiveId" clId="{B80CE663-061C-0E44-A4A7-E59CEA039E16}" dt="2022-05-18T17:43:30.256" v="4162"/>
          <ac:picMkLst>
            <pc:docMk/>
            <pc:sldMk cId="141659568" sldId="1041"/>
            <ac:picMk id="26" creationId="{22F7E55F-D857-63BC-2081-F8D672A20940}"/>
          </ac:picMkLst>
        </pc:picChg>
      </pc:sldChg>
      <pc:sldChg chg="modSp mod">
        <pc:chgData name="Johan Ludvig Brattås" userId="3c382553f8c1b01a" providerId="LiveId" clId="{B80CE663-061C-0E44-A4A7-E59CEA039E16}" dt="2022-05-10T13:25:12.176" v="4096" actId="20577"/>
        <pc:sldMkLst>
          <pc:docMk/>
          <pc:sldMk cId="2800007003" sldId="1044"/>
        </pc:sldMkLst>
        <pc:spChg chg="mod">
          <ac:chgData name="Johan Ludvig Brattås" userId="3c382553f8c1b01a" providerId="LiveId" clId="{B80CE663-061C-0E44-A4A7-E59CEA039E16}" dt="2022-05-10T13:25:12.176" v="4096" actId="20577"/>
          <ac:spMkLst>
            <pc:docMk/>
            <pc:sldMk cId="2800007003" sldId="1044"/>
            <ac:spMk id="12" creationId="{B28D4135-3F0B-4D5A-ADA3-87022F8C1959}"/>
          </ac:spMkLst>
        </pc:spChg>
        <pc:picChg chg="mod">
          <ac:chgData name="Johan Ludvig Brattås" userId="3c382553f8c1b01a" providerId="LiveId" clId="{B80CE663-061C-0E44-A4A7-E59CEA039E16}" dt="2022-05-10T13:21:44.243" v="4064" actId="1076"/>
          <ac:picMkLst>
            <pc:docMk/>
            <pc:sldMk cId="2800007003" sldId="1044"/>
            <ac:picMk id="9" creationId="{6D92E4EC-3C30-4A58-8551-202BDCA77C90}"/>
          </ac:picMkLst>
        </pc:picChg>
      </pc:sldChg>
      <pc:sldChg chg="addSp modSp mod">
        <pc:chgData name="Johan Ludvig Brattås" userId="3c382553f8c1b01a" providerId="LiveId" clId="{B80CE663-061C-0E44-A4A7-E59CEA039E16}" dt="2022-05-10T09:48:12.485" v="1003"/>
        <pc:sldMkLst>
          <pc:docMk/>
          <pc:sldMk cId="2663886759" sldId="1049"/>
        </pc:sldMkLst>
        <pc:spChg chg="mod">
          <ac:chgData name="Johan Ludvig Brattås" userId="3c382553f8c1b01a" providerId="LiveId" clId="{B80CE663-061C-0E44-A4A7-E59CEA039E16}" dt="2022-05-10T09:48:11.449" v="1002" actId="20577"/>
          <ac:spMkLst>
            <pc:docMk/>
            <pc:sldMk cId="2663886759" sldId="1049"/>
            <ac:spMk id="2" creationId="{CB2C0F85-30AF-4A7B-938C-24C2F464A399}"/>
          </ac:spMkLst>
        </pc:spChg>
        <pc:picChg chg="add">
          <ac:chgData name="Johan Ludvig Brattås" userId="3c382553f8c1b01a" providerId="LiveId" clId="{B80CE663-061C-0E44-A4A7-E59CEA039E16}" dt="2022-05-10T09:48:12.485" v="1003"/>
          <ac:picMkLst>
            <pc:docMk/>
            <pc:sldMk cId="2663886759" sldId="1049"/>
            <ac:picMk id="4098" creationId="{9311991A-50BD-23D4-A078-36731A8DAFEF}"/>
          </ac:picMkLst>
        </pc:picChg>
      </pc:sldChg>
      <pc:sldChg chg="del">
        <pc:chgData name="Johan Ludvig Brattås" userId="3c382553f8c1b01a" providerId="LiveId" clId="{B80CE663-061C-0E44-A4A7-E59CEA039E16}" dt="2022-05-10T13:06:05.612" v="3982" actId="2696"/>
        <pc:sldMkLst>
          <pc:docMk/>
          <pc:sldMk cId="1010782136" sldId="1050"/>
        </pc:sldMkLst>
      </pc:sldChg>
      <pc:sldChg chg="ord">
        <pc:chgData name="Johan Ludvig Brattås" userId="3c382553f8c1b01a" providerId="LiveId" clId="{B80CE663-061C-0E44-A4A7-E59CEA039E16}" dt="2022-05-10T08:33:45.083" v="896" actId="20578"/>
        <pc:sldMkLst>
          <pc:docMk/>
          <pc:sldMk cId="2829340559" sldId="1051"/>
        </pc:sldMkLst>
      </pc:sldChg>
      <pc:sldChg chg="addSp delSp modSp">
        <pc:chgData name="Johan Ludvig Brattås" userId="3c382553f8c1b01a" providerId="LiveId" clId="{B80CE663-061C-0E44-A4A7-E59CEA039E16}" dt="2022-05-09T13:04:38.467" v="2" actId="767"/>
        <pc:sldMkLst>
          <pc:docMk/>
          <pc:sldMk cId="88762365" sldId="1053"/>
        </pc:sldMkLst>
        <pc:spChg chg="add del mod">
          <ac:chgData name="Johan Ludvig Brattås" userId="3c382553f8c1b01a" providerId="LiveId" clId="{B80CE663-061C-0E44-A4A7-E59CEA039E16}" dt="2022-05-09T13:04:38.467" v="2" actId="767"/>
          <ac:spMkLst>
            <pc:docMk/>
            <pc:sldMk cId="88762365" sldId="1053"/>
            <ac:spMk id="2" creationId="{80A99EBF-CF9B-DF77-0577-92FBDF110A36}"/>
          </ac:spMkLst>
        </pc:spChg>
      </pc:sldChg>
      <pc:sldChg chg="addSp delSp modSp mod ord">
        <pc:chgData name="Johan Ludvig Brattås" userId="3c382553f8c1b01a" providerId="LiveId" clId="{B80CE663-061C-0E44-A4A7-E59CEA039E16}" dt="2022-05-10T09:39:25.512" v="936"/>
        <pc:sldMkLst>
          <pc:docMk/>
          <pc:sldMk cId="2885796768" sldId="1054"/>
        </pc:sldMkLst>
        <pc:spChg chg="add del mod">
          <ac:chgData name="Johan Ludvig Brattås" userId="3c382553f8c1b01a" providerId="LiveId" clId="{B80CE663-061C-0E44-A4A7-E59CEA039E16}" dt="2022-05-10T09:39:25.512" v="936"/>
          <ac:spMkLst>
            <pc:docMk/>
            <pc:sldMk cId="2885796768" sldId="1054"/>
            <ac:spMk id="2" creationId="{81D1AB4D-3D1F-FE92-FF37-DF57B34F2552}"/>
          </ac:spMkLst>
        </pc:spChg>
      </pc:sldChg>
      <pc:sldChg chg="addSp modSp ord">
        <pc:chgData name="Johan Ludvig Brattås" userId="3c382553f8c1b01a" providerId="LiveId" clId="{B80CE663-061C-0E44-A4A7-E59CEA039E16}" dt="2022-05-10T10:02:14.326" v="1220" actId="20578"/>
        <pc:sldMkLst>
          <pc:docMk/>
          <pc:sldMk cId="559374000" sldId="1055"/>
        </pc:sldMkLst>
        <pc:picChg chg="add mod">
          <ac:chgData name="Johan Ludvig Brattås" userId="3c382553f8c1b01a" providerId="LiveId" clId="{B80CE663-061C-0E44-A4A7-E59CEA039E16}" dt="2022-05-10T09:35:04.401" v="926" actId="571"/>
          <ac:picMkLst>
            <pc:docMk/>
            <pc:sldMk cId="559374000" sldId="1055"/>
            <ac:picMk id="4" creationId="{60B744CA-332A-0E60-96E6-B84F0F083029}"/>
          </ac:picMkLst>
        </pc:picChg>
      </pc:sldChg>
      <pc:sldChg chg="modSp mod ord">
        <pc:chgData name="Johan Ludvig Brattås" userId="3c382553f8c1b01a" providerId="LiveId" clId="{B80CE663-061C-0E44-A4A7-E59CEA039E16}" dt="2022-05-10T10:03:00.094" v="1240" actId="20577"/>
        <pc:sldMkLst>
          <pc:docMk/>
          <pc:sldMk cId="2327000704" sldId="1056"/>
        </pc:sldMkLst>
        <pc:spChg chg="mod">
          <ac:chgData name="Johan Ludvig Brattås" userId="3c382553f8c1b01a" providerId="LiveId" clId="{B80CE663-061C-0E44-A4A7-E59CEA039E16}" dt="2022-05-10T10:03:00.094" v="1240" actId="20577"/>
          <ac:spMkLst>
            <pc:docMk/>
            <pc:sldMk cId="2327000704" sldId="1056"/>
            <ac:spMk id="5" creationId="{81EDBC27-1FA2-439F-BF40-1D9ADCEF711F}"/>
          </ac:spMkLst>
        </pc:spChg>
        <pc:spChg chg="mod">
          <ac:chgData name="Johan Ludvig Brattås" userId="3c382553f8c1b01a" providerId="LiveId" clId="{B80CE663-061C-0E44-A4A7-E59CEA039E16}" dt="2022-05-10T09:41:57.728" v="981" actId="122"/>
          <ac:spMkLst>
            <pc:docMk/>
            <pc:sldMk cId="2327000704" sldId="1056"/>
            <ac:spMk id="6" creationId="{60EE681F-9BBC-4240-B288-E1486907279E}"/>
          </ac:spMkLst>
        </pc:spChg>
      </pc:sldChg>
      <pc:sldChg chg="addSp modSp ord">
        <pc:chgData name="Johan Ludvig Brattås" userId="3c382553f8c1b01a" providerId="LiveId" clId="{B80CE663-061C-0E44-A4A7-E59CEA039E16}" dt="2022-05-10T10:01:26.990" v="1217" actId="1076"/>
        <pc:sldMkLst>
          <pc:docMk/>
          <pc:sldMk cId="3254740660" sldId="1057"/>
        </pc:sldMkLst>
        <pc:picChg chg="add mod">
          <ac:chgData name="Johan Ludvig Brattås" userId="3c382553f8c1b01a" providerId="LiveId" clId="{B80CE663-061C-0E44-A4A7-E59CEA039E16}" dt="2022-05-10T10:01:26.990" v="1217" actId="1076"/>
          <ac:picMkLst>
            <pc:docMk/>
            <pc:sldMk cId="3254740660" sldId="1057"/>
            <ac:picMk id="7170" creationId="{DDCAE765-41C2-9058-6F93-B0B8F1B086CE}"/>
          </ac:picMkLst>
        </pc:picChg>
      </pc:sldChg>
      <pc:sldChg chg="addSp modSp mod ord modAnim">
        <pc:chgData name="Johan Ludvig Brattås" userId="3c382553f8c1b01a" providerId="LiveId" clId="{B80CE663-061C-0E44-A4A7-E59CEA039E16}" dt="2022-05-10T10:00:29.058" v="1212" actId="1076"/>
        <pc:sldMkLst>
          <pc:docMk/>
          <pc:sldMk cId="3633519841" sldId="1058"/>
        </pc:sldMkLst>
        <pc:spChg chg="mod">
          <ac:chgData name="Johan Ludvig Brattås" userId="3c382553f8c1b01a" providerId="LiveId" clId="{B80CE663-061C-0E44-A4A7-E59CEA039E16}" dt="2022-05-10T09:57:28.170" v="1201" actId="27636"/>
          <ac:spMkLst>
            <pc:docMk/>
            <pc:sldMk cId="3633519841" sldId="1058"/>
            <ac:spMk id="2" creationId="{6F1B2532-6B0C-4A1B-96B9-D9D66FFF76D5}"/>
          </ac:spMkLst>
        </pc:spChg>
        <pc:picChg chg="add mod">
          <ac:chgData name="Johan Ludvig Brattås" userId="3c382553f8c1b01a" providerId="LiveId" clId="{B80CE663-061C-0E44-A4A7-E59CEA039E16}" dt="2022-05-10T10:00:29.058" v="1212" actId="1076"/>
          <ac:picMkLst>
            <pc:docMk/>
            <pc:sldMk cId="3633519841" sldId="1058"/>
            <ac:picMk id="6146" creationId="{4A048B7B-49ED-A53D-5A34-F02BB972D1E5}"/>
          </ac:picMkLst>
        </pc:picChg>
      </pc:sldChg>
      <pc:sldChg chg="addSp modSp mod ord">
        <pc:chgData name="Johan Ludvig Brattås" userId="3c382553f8c1b01a" providerId="LiveId" clId="{B80CE663-061C-0E44-A4A7-E59CEA039E16}" dt="2022-05-10T09:59:07.971" v="1205" actId="1076"/>
        <pc:sldMkLst>
          <pc:docMk/>
          <pc:sldMk cId="2988579973" sldId="1059"/>
        </pc:sldMkLst>
        <pc:spChg chg="mod">
          <ac:chgData name="Johan Ludvig Brattås" userId="3c382553f8c1b01a" providerId="LiveId" clId="{B80CE663-061C-0E44-A4A7-E59CEA039E16}" dt="2022-05-10T09:59:07.971" v="1205" actId="1076"/>
          <ac:spMkLst>
            <pc:docMk/>
            <pc:sldMk cId="2988579973" sldId="1059"/>
            <ac:spMk id="16" creationId="{21B2CF7E-E8F6-4A2F-9828-4F9A39B0864F}"/>
          </ac:spMkLst>
        </pc:spChg>
        <pc:picChg chg="add mod">
          <ac:chgData name="Johan Ludvig Brattås" userId="3c382553f8c1b01a" providerId="LiveId" clId="{B80CE663-061C-0E44-A4A7-E59CEA039E16}" dt="2022-05-10T09:59:06.042" v="1204" actId="1076"/>
          <ac:picMkLst>
            <pc:docMk/>
            <pc:sldMk cId="2988579973" sldId="1059"/>
            <ac:picMk id="5122" creationId="{B3A4662F-1922-D3C9-2005-FC9332821F38}"/>
          </ac:picMkLst>
        </pc:picChg>
      </pc:sldChg>
      <pc:sldChg chg="modSp mod">
        <pc:chgData name="Johan Ludvig Brattås" userId="3c382553f8c1b01a" providerId="LiveId" clId="{B80CE663-061C-0E44-A4A7-E59CEA039E16}" dt="2022-05-10T09:43:06.926" v="992" actId="14100"/>
        <pc:sldMkLst>
          <pc:docMk/>
          <pc:sldMk cId="1935835980" sldId="1060"/>
        </pc:sldMkLst>
        <pc:picChg chg="mod">
          <ac:chgData name="Johan Ludvig Brattås" userId="3c382553f8c1b01a" providerId="LiveId" clId="{B80CE663-061C-0E44-A4A7-E59CEA039E16}" dt="2022-05-10T09:43:06.926" v="992" actId="14100"/>
          <ac:picMkLst>
            <pc:docMk/>
            <pc:sldMk cId="1935835980" sldId="1060"/>
            <ac:picMk id="11" creationId="{909A91CC-1B2F-40AA-A945-718227F85372}"/>
          </ac:picMkLst>
        </pc:picChg>
      </pc:sldChg>
      <pc:sldChg chg="modSp new del mod ord">
        <pc:chgData name="Johan Ludvig Brattås" userId="3c382553f8c1b01a" providerId="LiveId" clId="{B80CE663-061C-0E44-A4A7-E59CEA039E16}" dt="2022-05-10T08:18:24.810" v="895" actId="2696"/>
        <pc:sldMkLst>
          <pc:docMk/>
          <pc:sldMk cId="3819673760" sldId="1062"/>
        </pc:sldMkLst>
        <pc:spChg chg="mod">
          <ac:chgData name="Johan Ludvig Brattås" userId="3c382553f8c1b01a" providerId="LiveId" clId="{B80CE663-061C-0E44-A4A7-E59CEA039E16}" dt="2022-05-09T13:05:33.852" v="74" actId="20577"/>
          <ac:spMkLst>
            <pc:docMk/>
            <pc:sldMk cId="3819673760" sldId="1062"/>
            <ac:spMk id="2" creationId="{F752D493-EDE8-6CA7-94BD-A13B74F48B77}"/>
          </ac:spMkLst>
        </pc:spChg>
        <pc:spChg chg="mod">
          <ac:chgData name="Johan Ludvig Brattås" userId="3c382553f8c1b01a" providerId="LiveId" clId="{B80CE663-061C-0E44-A4A7-E59CEA039E16}" dt="2022-05-09T13:04:47.254" v="3"/>
          <ac:spMkLst>
            <pc:docMk/>
            <pc:sldMk cId="3819673760" sldId="1062"/>
            <ac:spMk id="3" creationId="{89E870A7-991E-5219-1091-C351A1B600F6}"/>
          </ac:spMkLst>
        </pc:spChg>
      </pc:sldChg>
      <pc:sldChg chg="addSp delSp modSp new mod ord">
        <pc:chgData name="Johan Ludvig Brattås" userId="3c382553f8c1b01a" providerId="LiveId" clId="{B80CE663-061C-0E44-A4A7-E59CEA039E16}" dt="2022-05-10T09:45:43.349" v="998" actId="20578"/>
        <pc:sldMkLst>
          <pc:docMk/>
          <pc:sldMk cId="1206264418" sldId="1063"/>
        </pc:sldMkLst>
        <pc:spChg chg="del">
          <ac:chgData name="Johan Ludvig Brattås" userId="3c382553f8c1b01a" providerId="LiveId" clId="{B80CE663-061C-0E44-A4A7-E59CEA039E16}" dt="2022-05-10T09:44:32.497" v="994" actId="478"/>
          <ac:spMkLst>
            <pc:docMk/>
            <pc:sldMk cId="1206264418" sldId="1063"/>
            <ac:spMk id="2" creationId="{5819BDAA-A3D9-2FEB-523E-9CD73331D4A4}"/>
          </ac:spMkLst>
        </pc:spChg>
        <pc:spChg chg="mod">
          <ac:chgData name="Johan Ludvig Brattås" userId="3c382553f8c1b01a" providerId="LiveId" clId="{B80CE663-061C-0E44-A4A7-E59CEA039E16}" dt="2022-05-09T13:39:43.963" v="194" actId="20577"/>
          <ac:spMkLst>
            <pc:docMk/>
            <pc:sldMk cId="1206264418" sldId="1063"/>
            <ac:spMk id="3" creationId="{981D9FCA-02AA-DDA7-D296-80DF47E8F3C5}"/>
          </ac:spMkLst>
        </pc:spChg>
        <pc:spChg chg="add mod">
          <ac:chgData name="Johan Ludvig Brattås" userId="3c382553f8c1b01a" providerId="LiveId" clId="{B80CE663-061C-0E44-A4A7-E59CEA039E16}" dt="2022-05-10T09:45:27.244" v="997" actId="207"/>
          <ac:spMkLst>
            <pc:docMk/>
            <pc:sldMk cId="1206264418" sldId="1063"/>
            <ac:spMk id="4" creationId="{9174C7D2-3485-F5C4-B5B9-08B9688D6594}"/>
          </ac:spMkLst>
        </pc:spChg>
        <pc:spChg chg="add mod">
          <ac:chgData name="Johan Ludvig Brattås" userId="3c382553f8c1b01a" providerId="LiveId" clId="{B80CE663-061C-0E44-A4A7-E59CEA039E16}" dt="2022-05-10T09:44:24.969" v="993"/>
          <ac:spMkLst>
            <pc:docMk/>
            <pc:sldMk cId="1206264418" sldId="1063"/>
            <ac:spMk id="5" creationId="{2BAACD80-F31A-781F-7EE2-302815339CD1}"/>
          </ac:spMkLst>
        </pc:spChg>
        <pc:spChg chg="add mod">
          <ac:chgData name="Johan Ludvig Brattås" userId="3c382553f8c1b01a" providerId="LiveId" clId="{B80CE663-061C-0E44-A4A7-E59CEA039E16}" dt="2022-05-10T09:45:22.088" v="996" actId="207"/>
          <ac:spMkLst>
            <pc:docMk/>
            <pc:sldMk cId="1206264418" sldId="1063"/>
            <ac:spMk id="6" creationId="{E492299B-0FF5-DB06-707D-CB5F625AA4D0}"/>
          </ac:spMkLst>
        </pc:spChg>
        <pc:spChg chg="mod">
          <ac:chgData name="Johan Ludvig Brattås" userId="3c382553f8c1b01a" providerId="LiveId" clId="{B80CE663-061C-0E44-A4A7-E59CEA039E16}" dt="2022-05-10T09:44:24.969" v="993"/>
          <ac:spMkLst>
            <pc:docMk/>
            <pc:sldMk cId="1206264418" sldId="1063"/>
            <ac:spMk id="8" creationId="{66DF45EB-8F9E-A446-3863-1573AED35E8C}"/>
          </ac:spMkLst>
        </pc:spChg>
        <pc:spChg chg="mod">
          <ac:chgData name="Johan Ludvig Brattås" userId="3c382553f8c1b01a" providerId="LiveId" clId="{B80CE663-061C-0E44-A4A7-E59CEA039E16}" dt="2022-05-10T09:44:24.969" v="993"/>
          <ac:spMkLst>
            <pc:docMk/>
            <pc:sldMk cId="1206264418" sldId="1063"/>
            <ac:spMk id="13" creationId="{A7E14FA6-B838-DCF9-92CD-0768209BCF75}"/>
          </ac:spMkLst>
        </pc:spChg>
        <pc:spChg chg="mod">
          <ac:chgData name="Johan Ludvig Brattås" userId="3c382553f8c1b01a" providerId="LiveId" clId="{B80CE663-061C-0E44-A4A7-E59CEA039E16}" dt="2022-05-10T09:44:24.969" v="993"/>
          <ac:spMkLst>
            <pc:docMk/>
            <pc:sldMk cId="1206264418" sldId="1063"/>
            <ac:spMk id="14" creationId="{EC7C8014-A9C2-0108-1517-DC298464C714}"/>
          </ac:spMkLst>
        </pc:spChg>
        <pc:spChg chg="mod">
          <ac:chgData name="Johan Ludvig Brattås" userId="3c382553f8c1b01a" providerId="LiveId" clId="{B80CE663-061C-0E44-A4A7-E59CEA039E16}" dt="2022-05-10T09:44:24.969" v="993"/>
          <ac:spMkLst>
            <pc:docMk/>
            <pc:sldMk cId="1206264418" sldId="1063"/>
            <ac:spMk id="15" creationId="{DD9AF864-92DB-9372-2DAA-D9E09AA6B4C6}"/>
          </ac:spMkLst>
        </pc:spChg>
        <pc:spChg chg="mod">
          <ac:chgData name="Johan Ludvig Brattås" userId="3c382553f8c1b01a" providerId="LiveId" clId="{B80CE663-061C-0E44-A4A7-E59CEA039E16}" dt="2022-05-10T09:44:24.969" v="993"/>
          <ac:spMkLst>
            <pc:docMk/>
            <pc:sldMk cId="1206264418" sldId="1063"/>
            <ac:spMk id="16" creationId="{AB21735B-8F7C-ADC1-970A-95E1B7093258}"/>
          </ac:spMkLst>
        </pc:spChg>
        <pc:spChg chg="mod">
          <ac:chgData name="Johan Ludvig Brattås" userId="3c382553f8c1b01a" providerId="LiveId" clId="{B80CE663-061C-0E44-A4A7-E59CEA039E16}" dt="2022-05-10T09:44:24.969" v="993"/>
          <ac:spMkLst>
            <pc:docMk/>
            <pc:sldMk cId="1206264418" sldId="1063"/>
            <ac:spMk id="17" creationId="{6308EEEF-8E25-010B-EB47-885A1F83FEE2}"/>
          </ac:spMkLst>
        </pc:spChg>
        <pc:spChg chg="mod">
          <ac:chgData name="Johan Ludvig Brattås" userId="3c382553f8c1b01a" providerId="LiveId" clId="{B80CE663-061C-0E44-A4A7-E59CEA039E16}" dt="2022-05-10T09:44:24.969" v="993"/>
          <ac:spMkLst>
            <pc:docMk/>
            <pc:sldMk cId="1206264418" sldId="1063"/>
            <ac:spMk id="18" creationId="{45D50D0A-7F3E-BBF0-500D-CE9FAADA565D}"/>
          </ac:spMkLst>
        </pc:spChg>
        <pc:spChg chg="mod">
          <ac:chgData name="Johan Ludvig Brattås" userId="3c382553f8c1b01a" providerId="LiveId" clId="{B80CE663-061C-0E44-A4A7-E59CEA039E16}" dt="2022-05-10T09:44:24.969" v="993"/>
          <ac:spMkLst>
            <pc:docMk/>
            <pc:sldMk cId="1206264418" sldId="1063"/>
            <ac:spMk id="19" creationId="{0B24D7D6-179A-8C5F-6DF2-B19B41AF005D}"/>
          </ac:spMkLst>
        </pc:spChg>
        <pc:spChg chg="add mod">
          <ac:chgData name="Johan Ludvig Brattås" userId="3c382553f8c1b01a" providerId="LiveId" clId="{B80CE663-061C-0E44-A4A7-E59CEA039E16}" dt="2022-05-10T09:44:24.969" v="993"/>
          <ac:spMkLst>
            <pc:docMk/>
            <pc:sldMk cId="1206264418" sldId="1063"/>
            <ac:spMk id="20" creationId="{8C696F60-79C1-8DAA-A46B-B2A9AD849479}"/>
          </ac:spMkLst>
        </pc:spChg>
        <pc:spChg chg="mod">
          <ac:chgData name="Johan Ludvig Brattås" userId="3c382553f8c1b01a" providerId="LiveId" clId="{B80CE663-061C-0E44-A4A7-E59CEA039E16}" dt="2022-05-10T09:44:24.969" v="993"/>
          <ac:spMkLst>
            <pc:docMk/>
            <pc:sldMk cId="1206264418" sldId="1063"/>
            <ac:spMk id="22" creationId="{0DFD9497-DA58-E79D-DE0E-A0EF23709817}"/>
          </ac:spMkLst>
        </pc:spChg>
        <pc:spChg chg="mod">
          <ac:chgData name="Johan Ludvig Brattås" userId="3c382553f8c1b01a" providerId="LiveId" clId="{B80CE663-061C-0E44-A4A7-E59CEA039E16}" dt="2022-05-10T09:44:24.969" v="993"/>
          <ac:spMkLst>
            <pc:docMk/>
            <pc:sldMk cId="1206264418" sldId="1063"/>
            <ac:spMk id="24" creationId="{7418082E-109A-5D27-57F0-9B80DEFDA159}"/>
          </ac:spMkLst>
        </pc:spChg>
        <pc:spChg chg="mod">
          <ac:chgData name="Johan Ludvig Brattås" userId="3c382553f8c1b01a" providerId="LiveId" clId="{B80CE663-061C-0E44-A4A7-E59CEA039E16}" dt="2022-05-10T09:44:24.969" v="993"/>
          <ac:spMkLst>
            <pc:docMk/>
            <pc:sldMk cId="1206264418" sldId="1063"/>
            <ac:spMk id="25" creationId="{1E6C54C7-46C3-EAE6-EF38-2E3BE1BF6E73}"/>
          </ac:spMkLst>
        </pc:spChg>
        <pc:spChg chg="mod">
          <ac:chgData name="Johan Ludvig Brattås" userId="3c382553f8c1b01a" providerId="LiveId" clId="{B80CE663-061C-0E44-A4A7-E59CEA039E16}" dt="2022-05-10T09:44:24.969" v="993"/>
          <ac:spMkLst>
            <pc:docMk/>
            <pc:sldMk cId="1206264418" sldId="1063"/>
            <ac:spMk id="26" creationId="{AACAAB51-A3A1-8D60-6D67-B1FF74580766}"/>
          </ac:spMkLst>
        </pc:spChg>
        <pc:spChg chg="mod">
          <ac:chgData name="Johan Ludvig Brattås" userId="3c382553f8c1b01a" providerId="LiveId" clId="{B80CE663-061C-0E44-A4A7-E59CEA039E16}" dt="2022-05-10T09:44:24.969" v="993"/>
          <ac:spMkLst>
            <pc:docMk/>
            <pc:sldMk cId="1206264418" sldId="1063"/>
            <ac:spMk id="27" creationId="{B61B0ACB-1CDF-7AB6-4092-447FD3FDDE0E}"/>
          </ac:spMkLst>
        </pc:spChg>
        <pc:spChg chg="mod">
          <ac:chgData name="Johan Ludvig Brattås" userId="3c382553f8c1b01a" providerId="LiveId" clId="{B80CE663-061C-0E44-A4A7-E59CEA039E16}" dt="2022-05-10T09:44:24.969" v="993"/>
          <ac:spMkLst>
            <pc:docMk/>
            <pc:sldMk cId="1206264418" sldId="1063"/>
            <ac:spMk id="28" creationId="{EC6C9D83-F580-A1E6-ED2C-3934C9C19DED}"/>
          </ac:spMkLst>
        </pc:spChg>
        <pc:spChg chg="mod">
          <ac:chgData name="Johan Ludvig Brattås" userId="3c382553f8c1b01a" providerId="LiveId" clId="{B80CE663-061C-0E44-A4A7-E59CEA039E16}" dt="2022-05-10T09:44:24.969" v="993"/>
          <ac:spMkLst>
            <pc:docMk/>
            <pc:sldMk cId="1206264418" sldId="1063"/>
            <ac:spMk id="29" creationId="{69C1C6AB-E9C8-3682-B817-321C7CE5AE74}"/>
          </ac:spMkLst>
        </pc:spChg>
        <pc:spChg chg="mod">
          <ac:chgData name="Johan Ludvig Brattås" userId="3c382553f8c1b01a" providerId="LiveId" clId="{B80CE663-061C-0E44-A4A7-E59CEA039E16}" dt="2022-05-10T09:44:24.969" v="993"/>
          <ac:spMkLst>
            <pc:docMk/>
            <pc:sldMk cId="1206264418" sldId="1063"/>
            <ac:spMk id="34" creationId="{A0A36D27-1625-8321-3062-9462ECC4BC87}"/>
          </ac:spMkLst>
        </pc:spChg>
        <pc:spChg chg="mod">
          <ac:chgData name="Johan Ludvig Brattås" userId="3c382553f8c1b01a" providerId="LiveId" clId="{B80CE663-061C-0E44-A4A7-E59CEA039E16}" dt="2022-05-10T09:44:24.969" v="993"/>
          <ac:spMkLst>
            <pc:docMk/>
            <pc:sldMk cId="1206264418" sldId="1063"/>
            <ac:spMk id="35" creationId="{E3607401-E2BB-289B-223E-7DD51D4C2425}"/>
          </ac:spMkLst>
        </pc:spChg>
        <pc:spChg chg="mod">
          <ac:chgData name="Johan Ludvig Brattås" userId="3c382553f8c1b01a" providerId="LiveId" clId="{B80CE663-061C-0E44-A4A7-E59CEA039E16}" dt="2022-05-10T09:44:24.969" v="993"/>
          <ac:spMkLst>
            <pc:docMk/>
            <pc:sldMk cId="1206264418" sldId="1063"/>
            <ac:spMk id="36" creationId="{31A4C27A-23CE-690C-0D52-8684C267A032}"/>
          </ac:spMkLst>
        </pc:spChg>
        <pc:spChg chg="mod">
          <ac:chgData name="Johan Ludvig Brattås" userId="3c382553f8c1b01a" providerId="LiveId" clId="{B80CE663-061C-0E44-A4A7-E59CEA039E16}" dt="2022-05-10T09:44:24.969" v="993"/>
          <ac:spMkLst>
            <pc:docMk/>
            <pc:sldMk cId="1206264418" sldId="1063"/>
            <ac:spMk id="37" creationId="{7BB93DBF-A992-155E-597B-4D8B4A2EB98A}"/>
          </ac:spMkLst>
        </pc:spChg>
        <pc:spChg chg="mod">
          <ac:chgData name="Johan Ludvig Brattås" userId="3c382553f8c1b01a" providerId="LiveId" clId="{B80CE663-061C-0E44-A4A7-E59CEA039E16}" dt="2022-05-10T09:44:24.969" v="993"/>
          <ac:spMkLst>
            <pc:docMk/>
            <pc:sldMk cId="1206264418" sldId="1063"/>
            <ac:spMk id="38" creationId="{3EC46C9D-200F-E78C-56A8-599692F289D4}"/>
          </ac:spMkLst>
        </pc:spChg>
        <pc:spChg chg="mod">
          <ac:chgData name="Johan Ludvig Brattås" userId="3c382553f8c1b01a" providerId="LiveId" clId="{B80CE663-061C-0E44-A4A7-E59CEA039E16}" dt="2022-05-10T09:44:24.969" v="993"/>
          <ac:spMkLst>
            <pc:docMk/>
            <pc:sldMk cId="1206264418" sldId="1063"/>
            <ac:spMk id="39" creationId="{1EF2A0B2-2894-68DB-7A85-5038ACE7B4FD}"/>
          </ac:spMkLst>
        </pc:spChg>
        <pc:spChg chg="mod">
          <ac:chgData name="Johan Ludvig Brattås" userId="3c382553f8c1b01a" providerId="LiveId" clId="{B80CE663-061C-0E44-A4A7-E59CEA039E16}" dt="2022-05-10T09:44:24.969" v="993"/>
          <ac:spMkLst>
            <pc:docMk/>
            <pc:sldMk cId="1206264418" sldId="1063"/>
            <ac:spMk id="40" creationId="{DD0F7423-ADA4-AF1E-D0D0-CD6B324DB2A4}"/>
          </ac:spMkLst>
        </pc:spChg>
        <pc:spChg chg="mod">
          <ac:chgData name="Johan Ludvig Brattås" userId="3c382553f8c1b01a" providerId="LiveId" clId="{B80CE663-061C-0E44-A4A7-E59CEA039E16}" dt="2022-05-10T09:44:24.969" v="993"/>
          <ac:spMkLst>
            <pc:docMk/>
            <pc:sldMk cId="1206264418" sldId="1063"/>
            <ac:spMk id="41" creationId="{A2174C08-72DE-6D41-BD73-E4F58E25C6C1}"/>
          </ac:spMkLst>
        </pc:spChg>
        <pc:spChg chg="add mod">
          <ac:chgData name="Johan Ludvig Brattås" userId="3c382553f8c1b01a" providerId="LiveId" clId="{B80CE663-061C-0E44-A4A7-E59CEA039E16}" dt="2022-05-10T09:44:24.969" v="993"/>
          <ac:spMkLst>
            <pc:docMk/>
            <pc:sldMk cId="1206264418" sldId="1063"/>
            <ac:spMk id="42" creationId="{B6401D87-7226-89C2-4B4A-4BD54E2781A2}"/>
          </ac:spMkLst>
        </pc:spChg>
        <pc:spChg chg="mod">
          <ac:chgData name="Johan Ludvig Brattås" userId="3c382553f8c1b01a" providerId="LiveId" clId="{B80CE663-061C-0E44-A4A7-E59CEA039E16}" dt="2022-05-10T09:44:24.969" v="993"/>
          <ac:spMkLst>
            <pc:docMk/>
            <pc:sldMk cId="1206264418" sldId="1063"/>
            <ac:spMk id="44" creationId="{9EFF437A-1889-1BB8-C5EC-74ACBF57D254}"/>
          </ac:spMkLst>
        </pc:spChg>
        <pc:spChg chg="mod">
          <ac:chgData name="Johan Ludvig Brattås" userId="3c382553f8c1b01a" providerId="LiveId" clId="{B80CE663-061C-0E44-A4A7-E59CEA039E16}" dt="2022-05-10T09:44:24.969" v="993"/>
          <ac:spMkLst>
            <pc:docMk/>
            <pc:sldMk cId="1206264418" sldId="1063"/>
            <ac:spMk id="46" creationId="{37736EF8-557A-60BD-03CF-164C861D5DBD}"/>
          </ac:spMkLst>
        </pc:spChg>
        <pc:spChg chg="mod">
          <ac:chgData name="Johan Ludvig Brattås" userId="3c382553f8c1b01a" providerId="LiveId" clId="{B80CE663-061C-0E44-A4A7-E59CEA039E16}" dt="2022-05-10T09:44:24.969" v="993"/>
          <ac:spMkLst>
            <pc:docMk/>
            <pc:sldMk cId="1206264418" sldId="1063"/>
            <ac:spMk id="47" creationId="{78FD2094-E9AC-9160-F7AE-F55A423D6CDE}"/>
          </ac:spMkLst>
        </pc:spChg>
        <pc:spChg chg="mod">
          <ac:chgData name="Johan Ludvig Brattås" userId="3c382553f8c1b01a" providerId="LiveId" clId="{B80CE663-061C-0E44-A4A7-E59CEA039E16}" dt="2022-05-10T09:44:24.969" v="993"/>
          <ac:spMkLst>
            <pc:docMk/>
            <pc:sldMk cId="1206264418" sldId="1063"/>
            <ac:spMk id="48" creationId="{82383CCC-83E2-45E4-60DD-3B6519DBA20F}"/>
          </ac:spMkLst>
        </pc:spChg>
        <pc:spChg chg="mod">
          <ac:chgData name="Johan Ludvig Brattås" userId="3c382553f8c1b01a" providerId="LiveId" clId="{B80CE663-061C-0E44-A4A7-E59CEA039E16}" dt="2022-05-10T09:44:24.969" v="993"/>
          <ac:spMkLst>
            <pc:docMk/>
            <pc:sldMk cId="1206264418" sldId="1063"/>
            <ac:spMk id="49" creationId="{026DC19B-DB00-283E-86F7-84A0873AAFD1}"/>
          </ac:spMkLst>
        </pc:spChg>
        <pc:spChg chg="mod">
          <ac:chgData name="Johan Ludvig Brattås" userId="3c382553f8c1b01a" providerId="LiveId" clId="{B80CE663-061C-0E44-A4A7-E59CEA039E16}" dt="2022-05-10T09:44:24.969" v="993"/>
          <ac:spMkLst>
            <pc:docMk/>
            <pc:sldMk cId="1206264418" sldId="1063"/>
            <ac:spMk id="50" creationId="{8E6B1B43-9B31-F0BE-DA8B-4F2949DC84A9}"/>
          </ac:spMkLst>
        </pc:spChg>
        <pc:spChg chg="mod">
          <ac:chgData name="Johan Ludvig Brattås" userId="3c382553f8c1b01a" providerId="LiveId" clId="{B80CE663-061C-0E44-A4A7-E59CEA039E16}" dt="2022-05-10T09:44:24.969" v="993"/>
          <ac:spMkLst>
            <pc:docMk/>
            <pc:sldMk cId="1206264418" sldId="1063"/>
            <ac:spMk id="51" creationId="{7C25A1A0-B330-0D50-F8CD-52245D54C659}"/>
          </ac:spMkLst>
        </pc:spChg>
        <pc:spChg chg="mod">
          <ac:chgData name="Johan Ludvig Brattås" userId="3c382553f8c1b01a" providerId="LiveId" clId="{B80CE663-061C-0E44-A4A7-E59CEA039E16}" dt="2022-05-10T09:44:24.969" v="993"/>
          <ac:spMkLst>
            <pc:docMk/>
            <pc:sldMk cId="1206264418" sldId="1063"/>
            <ac:spMk id="57" creationId="{A8020D2F-B00F-4F04-8054-9709615C92AF}"/>
          </ac:spMkLst>
        </pc:spChg>
        <pc:spChg chg="mod">
          <ac:chgData name="Johan Ludvig Brattås" userId="3c382553f8c1b01a" providerId="LiveId" clId="{B80CE663-061C-0E44-A4A7-E59CEA039E16}" dt="2022-05-10T09:44:24.969" v="993"/>
          <ac:spMkLst>
            <pc:docMk/>
            <pc:sldMk cId="1206264418" sldId="1063"/>
            <ac:spMk id="58" creationId="{D5253D34-0179-DFDF-98EF-2612E54AC17D}"/>
          </ac:spMkLst>
        </pc:spChg>
        <pc:spChg chg="mod">
          <ac:chgData name="Johan Ludvig Brattås" userId="3c382553f8c1b01a" providerId="LiveId" clId="{B80CE663-061C-0E44-A4A7-E59CEA039E16}" dt="2022-05-10T09:44:24.969" v="993"/>
          <ac:spMkLst>
            <pc:docMk/>
            <pc:sldMk cId="1206264418" sldId="1063"/>
            <ac:spMk id="59" creationId="{01F1BBA6-B1CC-5DED-AC5B-324801428C34}"/>
          </ac:spMkLst>
        </pc:spChg>
        <pc:spChg chg="mod">
          <ac:chgData name="Johan Ludvig Brattås" userId="3c382553f8c1b01a" providerId="LiveId" clId="{B80CE663-061C-0E44-A4A7-E59CEA039E16}" dt="2022-05-10T09:44:24.969" v="993"/>
          <ac:spMkLst>
            <pc:docMk/>
            <pc:sldMk cId="1206264418" sldId="1063"/>
            <ac:spMk id="60" creationId="{54FE0EEC-9AC9-1B6C-14DE-88BA853DEFB6}"/>
          </ac:spMkLst>
        </pc:spChg>
        <pc:spChg chg="mod">
          <ac:chgData name="Johan Ludvig Brattås" userId="3c382553f8c1b01a" providerId="LiveId" clId="{B80CE663-061C-0E44-A4A7-E59CEA039E16}" dt="2022-05-10T09:44:24.969" v="993"/>
          <ac:spMkLst>
            <pc:docMk/>
            <pc:sldMk cId="1206264418" sldId="1063"/>
            <ac:spMk id="61" creationId="{570FEEC8-326E-260C-F6DA-6CA0E204E33F}"/>
          </ac:spMkLst>
        </pc:spChg>
        <pc:spChg chg="mod">
          <ac:chgData name="Johan Ludvig Brattås" userId="3c382553f8c1b01a" providerId="LiveId" clId="{B80CE663-061C-0E44-A4A7-E59CEA039E16}" dt="2022-05-10T09:44:24.969" v="993"/>
          <ac:spMkLst>
            <pc:docMk/>
            <pc:sldMk cId="1206264418" sldId="1063"/>
            <ac:spMk id="62" creationId="{8B1C4388-CA47-7E14-3398-04D09408683F}"/>
          </ac:spMkLst>
        </pc:spChg>
        <pc:spChg chg="mod">
          <ac:chgData name="Johan Ludvig Brattås" userId="3c382553f8c1b01a" providerId="LiveId" clId="{B80CE663-061C-0E44-A4A7-E59CEA039E16}" dt="2022-05-10T09:44:24.969" v="993"/>
          <ac:spMkLst>
            <pc:docMk/>
            <pc:sldMk cId="1206264418" sldId="1063"/>
            <ac:spMk id="63" creationId="{80AD6DEA-B1FD-16A1-B460-AABA7B11DCF0}"/>
          </ac:spMkLst>
        </pc:spChg>
        <pc:spChg chg="mod">
          <ac:chgData name="Johan Ludvig Brattås" userId="3c382553f8c1b01a" providerId="LiveId" clId="{B80CE663-061C-0E44-A4A7-E59CEA039E16}" dt="2022-05-10T09:44:24.969" v="993"/>
          <ac:spMkLst>
            <pc:docMk/>
            <pc:sldMk cId="1206264418" sldId="1063"/>
            <ac:spMk id="64" creationId="{2939FA5D-2945-6C4B-08D6-A876DAC2645E}"/>
          </ac:spMkLst>
        </pc:spChg>
        <pc:spChg chg="mod">
          <ac:chgData name="Johan Ludvig Brattås" userId="3c382553f8c1b01a" providerId="LiveId" clId="{B80CE663-061C-0E44-A4A7-E59CEA039E16}" dt="2022-05-10T09:44:24.969" v="993"/>
          <ac:spMkLst>
            <pc:docMk/>
            <pc:sldMk cId="1206264418" sldId="1063"/>
            <ac:spMk id="65" creationId="{AC000CFE-CE74-26E1-DEDB-892CA31A2304}"/>
          </ac:spMkLst>
        </pc:spChg>
        <pc:spChg chg="mod">
          <ac:chgData name="Johan Ludvig Brattås" userId="3c382553f8c1b01a" providerId="LiveId" clId="{B80CE663-061C-0E44-A4A7-E59CEA039E16}" dt="2022-05-10T09:44:24.969" v="993"/>
          <ac:spMkLst>
            <pc:docMk/>
            <pc:sldMk cId="1206264418" sldId="1063"/>
            <ac:spMk id="66" creationId="{1105A1D1-ECD0-1520-16A4-68B1284F067A}"/>
          </ac:spMkLst>
        </pc:spChg>
        <pc:spChg chg="add mod">
          <ac:chgData name="Johan Ludvig Brattås" userId="3c382553f8c1b01a" providerId="LiveId" clId="{B80CE663-061C-0E44-A4A7-E59CEA039E16}" dt="2022-05-10T09:44:24.969" v="993"/>
          <ac:spMkLst>
            <pc:docMk/>
            <pc:sldMk cId="1206264418" sldId="1063"/>
            <ac:spMk id="67" creationId="{B05670DD-C673-32DC-322D-577EB9148AFA}"/>
          </ac:spMkLst>
        </pc:spChg>
        <pc:spChg chg="mod">
          <ac:chgData name="Johan Ludvig Brattås" userId="3c382553f8c1b01a" providerId="LiveId" clId="{B80CE663-061C-0E44-A4A7-E59CEA039E16}" dt="2022-05-10T09:44:24.969" v="993"/>
          <ac:spMkLst>
            <pc:docMk/>
            <pc:sldMk cId="1206264418" sldId="1063"/>
            <ac:spMk id="69" creationId="{52B9DD96-4738-8FA0-E5DD-B048BC06350F}"/>
          </ac:spMkLst>
        </pc:spChg>
        <pc:spChg chg="mod">
          <ac:chgData name="Johan Ludvig Brattås" userId="3c382553f8c1b01a" providerId="LiveId" clId="{B80CE663-061C-0E44-A4A7-E59CEA039E16}" dt="2022-05-10T09:44:24.969" v="993"/>
          <ac:spMkLst>
            <pc:docMk/>
            <pc:sldMk cId="1206264418" sldId="1063"/>
            <ac:spMk id="73" creationId="{3E1443F2-8E09-4EEE-A9F5-58058011B852}"/>
          </ac:spMkLst>
        </pc:spChg>
        <pc:spChg chg="mod">
          <ac:chgData name="Johan Ludvig Brattås" userId="3c382553f8c1b01a" providerId="LiveId" clId="{B80CE663-061C-0E44-A4A7-E59CEA039E16}" dt="2022-05-10T09:44:24.969" v="993"/>
          <ac:spMkLst>
            <pc:docMk/>
            <pc:sldMk cId="1206264418" sldId="1063"/>
            <ac:spMk id="74" creationId="{708B37F2-DF51-34C0-AFFF-A5635515DB84}"/>
          </ac:spMkLst>
        </pc:spChg>
        <pc:spChg chg="mod">
          <ac:chgData name="Johan Ludvig Brattås" userId="3c382553f8c1b01a" providerId="LiveId" clId="{B80CE663-061C-0E44-A4A7-E59CEA039E16}" dt="2022-05-10T09:44:24.969" v="993"/>
          <ac:spMkLst>
            <pc:docMk/>
            <pc:sldMk cId="1206264418" sldId="1063"/>
            <ac:spMk id="75" creationId="{3E00C2B3-0373-D9EF-124B-A47D6FCA6BDD}"/>
          </ac:spMkLst>
        </pc:spChg>
        <pc:spChg chg="mod">
          <ac:chgData name="Johan Ludvig Brattås" userId="3c382553f8c1b01a" providerId="LiveId" clId="{B80CE663-061C-0E44-A4A7-E59CEA039E16}" dt="2022-05-10T09:44:24.969" v="993"/>
          <ac:spMkLst>
            <pc:docMk/>
            <pc:sldMk cId="1206264418" sldId="1063"/>
            <ac:spMk id="76" creationId="{DC752BE7-37F4-6B2B-2B4B-9F3F54383705}"/>
          </ac:spMkLst>
        </pc:spChg>
        <pc:spChg chg="mod">
          <ac:chgData name="Johan Ludvig Brattås" userId="3c382553f8c1b01a" providerId="LiveId" clId="{B80CE663-061C-0E44-A4A7-E59CEA039E16}" dt="2022-05-10T09:44:24.969" v="993"/>
          <ac:spMkLst>
            <pc:docMk/>
            <pc:sldMk cId="1206264418" sldId="1063"/>
            <ac:spMk id="77" creationId="{5BA2DACD-BC4A-9634-A7FC-B80746267685}"/>
          </ac:spMkLst>
        </pc:spChg>
        <pc:spChg chg="mod">
          <ac:chgData name="Johan Ludvig Brattås" userId="3c382553f8c1b01a" providerId="LiveId" clId="{B80CE663-061C-0E44-A4A7-E59CEA039E16}" dt="2022-05-10T09:44:24.969" v="993"/>
          <ac:spMkLst>
            <pc:docMk/>
            <pc:sldMk cId="1206264418" sldId="1063"/>
            <ac:spMk id="78" creationId="{FCBEB4DC-75F4-19B3-A994-8AC6D7CEDBC0}"/>
          </ac:spMkLst>
        </pc:spChg>
        <pc:spChg chg="mod">
          <ac:chgData name="Johan Ludvig Brattås" userId="3c382553f8c1b01a" providerId="LiveId" clId="{B80CE663-061C-0E44-A4A7-E59CEA039E16}" dt="2022-05-10T09:44:24.969" v="993"/>
          <ac:spMkLst>
            <pc:docMk/>
            <pc:sldMk cId="1206264418" sldId="1063"/>
            <ac:spMk id="79" creationId="{4F70A690-7F0E-2BB9-8AC6-784A66F05890}"/>
          </ac:spMkLst>
        </pc:spChg>
        <pc:spChg chg="mod">
          <ac:chgData name="Johan Ludvig Brattås" userId="3c382553f8c1b01a" providerId="LiveId" clId="{B80CE663-061C-0E44-A4A7-E59CEA039E16}" dt="2022-05-10T09:44:24.969" v="993"/>
          <ac:spMkLst>
            <pc:docMk/>
            <pc:sldMk cId="1206264418" sldId="1063"/>
            <ac:spMk id="80" creationId="{122AFC99-399E-0C2C-5D5C-38FFD0CFD4B5}"/>
          </ac:spMkLst>
        </pc:spChg>
        <pc:spChg chg="mod">
          <ac:chgData name="Johan Ludvig Brattås" userId="3c382553f8c1b01a" providerId="LiveId" clId="{B80CE663-061C-0E44-A4A7-E59CEA039E16}" dt="2022-05-10T09:44:24.969" v="993"/>
          <ac:spMkLst>
            <pc:docMk/>
            <pc:sldMk cId="1206264418" sldId="1063"/>
            <ac:spMk id="81" creationId="{C9AF156E-3536-CBB3-0EAA-E19456531230}"/>
          </ac:spMkLst>
        </pc:spChg>
        <pc:spChg chg="mod">
          <ac:chgData name="Johan Ludvig Brattås" userId="3c382553f8c1b01a" providerId="LiveId" clId="{B80CE663-061C-0E44-A4A7-E59CEA039E16}" dt="2022-05-10T09:44:24.969" v="993"/>
          <ac:spMkLst>
            <pc:docMk/>
            <pc:sldMk cId="1206264418" sldId="1063"/>
            <ac:spMk id="82" creationId="{64602AC2-D172-039F-3A50-6F4857654C34}"/>
          </ac:spMkLst>
        </pc:spChg>
        <pc:spChg chg="mod">
          <ac:chgData name="Johan Ludvig Brattås" userId="3c382553f8c1b01a" providerId="LiveId" clId="{B80CE663-061C-0E44-A4A7-E59CEA039E16}" dt="2022-05-10T09:44:24.969" v="993"/>
          <ac:spMkLst>
            <pc:docMk/>
            <pc:sldMk cId="1206264418" sldId="1063"/>
            <ac:spMk id="83" creationId="{23BECD45-F1E1-A638-8ABA-FB4981F15909}"/>
          </ac:spMkLst>
        </pc:spChg>
        <pc:spChg chg="mod">
          <ac:chgData name="Johan Ludvig Brattås" userId="3c382553f8c1b01a" providerId="LiveId" clId="{B80CE663-061C-0E44-A4A7-E59CEA039E16}" dt="2022-05-10T09:44:24.969" v="993"/>
          <ac:spMkLst>
            <pc:docMk/>
            <pc:sldMk cId="1206264418" sldId="1063"/>
            <ac:spMk id="84" creationId="{77DA78C5-86FB-E6A6-6EB0-572B46AE31EB}"/>
          </ac:spMkLst>
        </pc:spChg>
        <pc:spChg chg="mod">
          <ac:chgData name="Johan Ludvig Brattås" userId="3c382553f8c1b01a" providerId="LiveId" clId="{B80CE663-061C-0E44-A4A7-E59CEA039E16}" dt="2022-05-10T09:44:24.969" v="993"/>
          <ac:spMkLst>
            <pc:docMk/>
            <pc:sldMk cId="1206264418" sldId="1063"/>
            <ac:spMk id="85" creationId="{30F34DDE-50A1-C590-D78D-9061CC898D15}"/>
          </ac:spMkLst>
        </pc:spChg>
        <pc:spChg chg="mod">
          <ac:chgData name="Johan Ludvig Brattås" userId="3c382553f8c1b01a" providerId="LiveId" clId="{B80CE663-061C-0E44-A4A7-E59CEA039E16}" dt="2022-05-10T09:44:24.969" v="993"/>
          <ac:spMkLst>
            <pc:docMk/>
            <pc:sldMk cId="1206264418" sldId="1063"/>
            <ac:spMk id="86" creationId="{2FD85EA9-514F-7EDB-40B9-66542AAB68E8}"/>
          </ac:spMkLst>
        </pc:spChg>
        <pc:spChg chg="mod">
          <ac:chgData name="Johan Ludvig Brattås" userId="3c382553f8c1b01a" providerId="LiveId" clId="{B80CE663-061C-0E44-A4A7-E59CEA039E16}" dt="2022-05-10T09:44:24.969" v="993"/>
          <ac:spMkLst>
            <pc:docMk/>
            <pc:sldMk cId="1206264418" sldId="1063"/>
            <ac:spMk id="87" creationId="{0413E304-7254-A5D5-2278-058C9FED62E4}"/>
          </ac:spMkLst>
        </pc:spChg>
        <pc:spChg chg="mod">
          <ac:chgData name="Johan Ludvig Brattås" userId="3c382553f8c1b01a" providerId="LiveId" clId="{B80CE663-061C-0E44-A4A7-E59CEA039E16}" dt="2022-05-10T09:44:24.969" v="993"/>
          <ac:spMkLst>
            <pc:docMk/>
            <pc:sldMk cId="1206264418" sldId="1063"/>
            <ac:spMk id="88" creationId="{2E02A363-3DD8-F765-02CE-0DDAC86EAF7B}"/>
          </ac:spMkLst>
        </pc:spChg>
        <pc:spChg chg="mod">
          <ac:chgData name="Johan Ludvig Brattås" userId="3c382553f8c1b01a" providerId="LiveId" clId="{B80CE663-061C-0E44-A4A7-E59CEA039E16}" dt="2022-05-10T09:44:24.969" v="993"/>
          <ac:spMkLst>
            <pc:docMk/>
            <pc:sldMk cId="1206264418" sldId="1063"/>
            <ac:spMk id="89" creationId="{30B50A6D-E9E6-4085-97FC-BB0F68E46736}"/>
          </ac:spMkLst>
        </pc:spChg>
        <pc:spChg chg="mod">
          <ac:chgData name="Johan Ludvig Brattås" userId="3c382553f8c1b01a" providerId="LiveId" clId="{B80CE663-061C-0E44-A4A7-E59CEA039E16}" dt="2022-05-10T09:44:24.969" v="993"/>
          <ac:spMkLst>
            <pc:docMk/>
            <pc:sldMk cId="1206264418" sldId="1063"/>
            <ac:spMk id="90" creationId="{6830C117-BAE7-834E-F688-0DC29EB18B49}"/>
          </ac:spMkLst>
        </pc:spChg>
        <pc:spChg chg="add mod">
          <ac:chgData name="Johan Ludvig Brattås" userId="3c382553f8c1b01a" providerId="LiveId" clId="{B80CE663-061C-0E44-A4A7-E59CEA039E16}" dt="2022-05-10T09:44:24.969" v="993"/>
          <ac:spMkLst>
            <pc:docMk/>
            <pc:sldMk cId="1206264418" sldId="1063"/>
            <ac:spMk id="91" creationId="{48963D6B-AC44-CB2E-C45E-AC156D3719A3}"/>
          </ac:spMkLst>
        </pc:spChg>
        <pc:spChg chg="mod">
          <ac:chgData name="Johan Ludvig Brattås" userId="3c382553f8c1b01a" providerId="LiveId" clId="{B80CE663-061C-0E44-A4A7-E59CEA039E16}" dt="2022-05-10T09:44:24.969" v="993"/>
          <ac:spMkLst>
            <pc:docMk/>
            <pc:sldMk cId="1206264418" sldId="1063"/>
            <ac:spMk id="93" creationId="{9E9D5455-EED1-E422-7F1B-AE461789AA3F}"/>
          </ac:spMkLst>
        </pc:spChg>
        <pc:spChg chg="mod">
          <ac:chgData name="Johan Ludvig Brattås" userId="3c382553f8c1b01a" providerId="LiveId" clId="{B80CE663-061C-0E44-A4A7-E59CEA039E16}" dt="2022-05-10T09:44:24.969" v="993"/>
          <ac:spMkLst>
            <pc:docMk/>
            <pc:sldMk cId="1206264418" sldId="1063"/>
            <ac:spMk id="95" creationId="{9F1AE6A7-2B0B-DE1A-BDF3-E2B65FCF884A}"/>
          </ac:spMkLst>
        </pc:spChg>
        <pc:spChg chg="mod">
          <ac:chgData name="Johan Ludvig Brattås" userId="3c382553f8c1b01a" providerId="LiveId" clId="{B80CE663-061C-0E44-A4A7-E59CEA039E16}" dt="2022-05-10T09:44:24.969" v="993"/>
          <ac:spMkLst>
            <pc:docMk/>
            <pc:sldMk cId="1206264418" sldId="1063"/>
            <ac:spMk id="96" creationId="{722E21A1-107E-C45B-5448-1CEECFA4C95E}"/>
          </ac:spMkLst>
        </pc:spChg>
        <pc:spChg chg="mod">
          <ac:chgData name="Johan Ludvig Brattås" userId="3c382553f8c1b01a" providerId="LiveId" clId="{B80CE663-061C-0E44-A4A7-E59CEA039E16}" dt="2022-05-10T09:44:24.969" v="993"/>
          <ac:spMkLst>
            <pc:docMk/>
            <pc:sldMk cId="1206264418" sldId="1063"/>
            <ac:spMk id="97" creationId="{BC71644C-9653-8083-F71F-390883FE5157}"/>
          </ac:spMkLst>
        </pc:spChg>
        <pc:spChg chg="mod">
          <ac:chgData name="Johan Ludvig Brattås" userId="3c382553f8c1b01a" providerId="LiveId" clId="{B80CE663-061C-0E44-A4A7-E59CEA039E16}" dt="2022-05-10T09:44:24.969" v="993"/>
          <ac:spMkLst>
            <pc:docMk/>
            <pc:sldMk cId="1206264418" sldId="1063"/>
            <ac:spMk id="98" creationId="{3838BAB3-C89A-CEF9-99D3-22563D1F5804}"/>
          </ac:spMkLst>
        </pc:spChg>
        <pc:spChg chg="mod">
          <ac:chgData name="Johan Ludvig Brattås" userId="3c382553f8c1b01a" providerId="LiveId" clId="{B80CE663-061C-0E44-A4A7-E59CEA039E16}" dt="2022-05-10T09:44:24.969" v="993"/>
          <ac:spMkLst>
            <pc:docMk/>
            <pc:sldMk cId="1206264418" sldId="1063"/>
            <ac:spMk id="99" creationId="{048BAE0D-EC2E-1E9F-D621-7B1BEAA9A1D3}"/>
          </ac:spMkLst>
        </pc:spChg>
        <pc:spChg chg="mod">
          <ac:chgData name="Johan Ludvig Brattås" userId="3c382553f8c1b01a" providerId="LiveId" clId="{B80CE663-061C-0E44-A4A7-E59CEA039E16}" dt="2022-05-10T09:44:24.969" v="993"/>
          <ac:spMkLst>
            <pc:docMk/>
            <pc:sldMk cId="1206264418" sldId="1063"/>
            <ac:spMk id="100" creationId="{FFDD2210-D2BC-D72C-2518-9FAF8068AF37}"/>
          </ac:spMkLst>
        </pc:spChg>
        <pc:spChg chg="mod">
          <ac:chgData name="Johan Ludvig Brattås" userId="3c382553f8c1b01a" providerId="LiveId" clId="{B80CE663-061C-0E44-A4A7-E59CEA039E16}" dt="2022-05-10T09:44:24.969" v="993"/>
          <ac:spMkLst>
            <pc:docMk/>
            <pc:sldMk cId="1206264418" sldId="1063"/>
            <ac:spMk id="101" creationId="{A030F361-0331-F58E-D573-2710AAEAD959}"/>
          </ac:spMkLst>
        </pc:spChg>
        <pc:spChg chg="mod">
          <ac:chgData name="Johan Ludvig Brattås" userId="3c382553f8c1b01a" providerId="LiveId" clId="{B80CE663-061C-0E44-A4A7-E59CEA039E16}" dt="2022-05-10T09:44:24.969" v="993"/>
          <ac:spMkLst>
            <pc:docMk/>
            <pc:sldMk cId="1206264418" sldId="1063"/>
            <ac:spMk id="102" creationId="{E838C2B8-884F-4D5D-EB35-6228800CAB9E}"/>
          </ac:spMkLst>
        </pc:spChg>
        <pc:spChg chg="mod">
          <ac:chgData name="Johan Ludvig Brattås" userId="3c382553f8c1b01a" providerId="LiveId" clId="{B80CE663-061C-0E44-A4A7-E59CEA039E16}" dt="2022-05-10T09:44:24.969" v="993"/>
          <ac:spMkLst>
            <pc:docMk/>
            <pc:sldMk cId="1206264418" sldId="1063"/>
            <ac:spMk id="103" creationId="{61E63141-814F-FBA9-7A9A-7CB588BA6C51}"/>
          </ac:spMkLst>
        </pc:spChg>
        <pc:spChg chg="mod">
          <ac:chgData name="Johan Ludvig Brattås" userId="3c382553f8c1b01a" providerId="LiveId" clId="{B80CE663-061C-0E44-A4A7-E59CEA039E16}" dt="2022-05-10T09:44:24.969" v="993"/>
          <ac:spMkLst>
            <pc:docMk/>
            <pc:sldMk cId="1206264418" sldId="1063"/>
            <ac:spMk id="104" creationId="{C590A4DE-D936-F15D-84E5-428CAD33D703}"/>
          </ac:spMkLst>
        </pc:spChg>
        <pc:spChg chg="mod">
          <ac:chgData name="Johan Ludvig Brattås" userId="3c382553f8c1b01a" providerId="LiveId" clId="{B80CE663-061C-0E44-A4A7-E59CEA039E16}" dt="2022-05-10T09:44:24.969" v="993"/>
          <ac:spMkLst>
            <pc:docMk/>
            <pc:sldMk cId="1206264418" sldId="1063"/>
            <ac:spMk id="105" creationId="{7244F84B-F7CE-CE44-7D01-DEC670E19AF0}"/>
          </ac:spMkLst>
        </pc:spChg>
        <pc:spChg chg="mod">
          <ac:chgData name="Johan Ludvig Brattås" userId="3c382553f8c1b01a" providerId="LiveId" clId="{B80CE663-061C-0E44-A4A7-E59CEA039E16}" dt="2022-05-10T09:44:24.969" v="993"/>
          <ac:spMkLst>
            <pc:docMk/>
            <pc:sldMk cId="1206264418" sldId="1063"/>
            <ac:spMk id="107" creationId="{63E35325-6BC0-8CA7-3D30-01D103E84318}"/>
          </ac:spMkLst>
        </pc:spChg>
        <pc:spChg chg="mod">
          <ac:chgData name="Johan Ludvig Brattås" userId="3c382553f8c1b01a" providerId="LiveId" clId="{B80CE663-061C-0E44-A4A7-E59CEA039E16}" dt="2022-05-10T09:44:24.969" v="993"/>
          <ac:spMkLst>
            <pc:docMk/>
            <pc:sldMk cId="1206264418" sldId="1063"/>
            <ac:spMk id="112" creationId="{84F1F936-3D36-C7E7-7E3C-7E9A57F220D2}"/>
          </ac:spMkLst>
        </pc:spChg>
        <pc:spChg chg="mod">
          <ac:chgData name="Johan Ludvig Brattås" userId="3c382553f8c1b01a" providerId="LiveId" clId="{B80CE663-061C-0E44-A4A7-E59CEA039E16}" dt="2022-05-10T09:44:24.969" v="993"/>
          <ac:spMkLst>
            <pc:docMk/>
            <pc:sldMk cId="1206264418" sldId="1063"/>
            <ac:spMk id="113" creationId="{2EEA1B4A-F0F7-FFF3-5746-4B489958EBC5}"/>
          </ac:spMkLst>
        </pc:spChg>
        <pc:spChg chg="mod">
          <ac:chgData name="Johan Ludvig Brattås" userId="3c382553f8c1b01a" providerId="LiveId" clId="{B80CE663-061C-0E44-A4A7-E59CEA039E16}" dt="2022-05-10T09:44:24.969" v="993"/>
          <ac:spMkLst>
            <pc:docMk/>
            <pc:sldMk cId="1206264418" sldId="1063"/>
            <ac:spMk id="114" creationId="{1BD569FE-867A-2679-D654-C9059F655EF1}"/>
          </ac:spMkLst>
        </pc:spChg>
        <pc:spChg chg="mod">
          <ac:chgData name="Johan Ludvig Brattås" userId="3c382553f8c1b01a" providerId="LiveId" clId="{B80CE663-061C-0E44-A4A7-E59CEA039E16}" dt="2022-05-10T09:44:24.969" v="993"/>
          <ac:spMkLst>
            <pc:docMk/>
            <pc:sldMk cId="1206264418" sldId="1063"/>
            <ac:spMk id="115" creationId="{36665DCE-5FC3-C28D-F152-DDC4F53537A5}"/>
          </ac:spMkLst>
        </pc:spChg>
        <pc:spChg chg="mod">
          <ac:chgData name="Johan Ludvig Brattås" userId="3c382553f8c1b01a" providerId="LiveId" clId="{B80CE663-061C-0E44-A4A7-E59CEA039E16}" dt="2022-05-10T09:44:24.969" v="993"/>
          <ac:spMkLst>
            <pc:docMk/>
            <pc:sldMk cId="1206264418" sldId="1063"/>
            <ac:spMk id="116" creationId="{4680AB49-3214-5AD4-2301-6972667E4FA8}"/>
          </ac:spMkLst>
        </pc:spChg>
        <pc:spChg chg="mod">
          <ac:chgData name="Johan Ludvig Brattås" userId="3c382553f8c1b01a" providerId="LiveId" clId="{B80CE663-061C-0E44-A4A7-E59CEA039E16}" dt="2022-05-10T09:44:24.969" v="993"/>
          <ac:spMkLst>
            <pc:docMk/>
            <pc:sldMk cId="1206264418" sldId="1063"/>
            <ac:spMk id="117" creationId="{8EEBA322-B34A-15A4-A8DF-7B3B4BCAE318}"/>
          </ac:spMkLst>
        </pc:spChg>
        <pc:spChg chg="add mod">
          <ac:chgData name="Johan Ludvig Brattås" userId="3c382553f8c1b01a" providerId="LiveId" clId="{B80CE663-061C-0E44-A4A7-E59CEA039E16}" dt="2022-05-10T09:44:24.969" v="993"/>
          <ac:spMkLst>
            <pc:docMk/>
            <pc:sldMk cId="1206264418" sldId="1063"/>
            <ac:spMk id="118" creationId="{5AB9A2C0-A8D3-B112-F4F6-0835DFC25D6D}"/>
          </ac:spMkLst>
        </pc:spChg>
        <pc:spChg chg="mod">
          <ac:chgData name="Johan Ludvig Brattås" userId="3c382553f8c1b01a" providerId="LiveId" clId="{B80CE663-061C-0E44-A4A7-E59CEA039E16}" dt="2022-05-10T09:44:24.969" v="993"/>
          <ac:spMkLst>
            <pc:docMk/>
            <pc:sldMk cId="1206264418" sldId="1063"/>
            <ac:spMk id="120" creationId="{40864612-655C-15D3-B979-AE7AC4F8118A}"/>
          </ac:spMkLst>
        </pc:spChg>
        <pc:spChg chg="mod">
          <ac:chgData name="Johan Ludvig Brattås" userId="3c382553f8c1b01a" providerId="LiveId" clId="{B80CE663-061C-0E44-A4A7-E59CEA039E16}" dt="2022-05-10T09:44:24.969" v="993"/>
          <ac:spMkLst>
            <pc:docMk/>
            <pc:sldMk cId="1206264418" sldId="1063"/>
            <ac:spMk id="122" creationId="{B0B097F2-1C53-A85C-5AE8-37ACD70CE9C0}"/>
          </ac:spMkLst>
        </pc:spChg>
        <pc:spChg chg="mod">
          <ac:chgData name="Johan Ludvig Brattås" userId="3c382553f8c1b01a" providerId="LiveId" clId="{B80CE663-061C-0E44-A4A7-E59CEA039E16}" dt="2022-05-10T09:44:24.969" v="993"/>
          <ac:spMkLst>
            <pc:docMk/>
            <pc:sldMk cId="1206264418" sldId="1063"/>
            <ac:spMk id="123" creationId="{07B6D712-9DA7-90D8-511B-504BF225C970}"/>
          </ac:spMkLst>
        </pc:spChg>
        <pc:spChg chg="mod">
          <ac:chgData name="Johan Ludvig Brattås" userId="3c382553f8c1b01a" providerId="LiveId" clId="{B80CE663-061C-0E44-A4A7-E59CEA039E16}" dt="2022-05-10T09:44:24.969" v="993"/>
          <ac:spMkLst>
            <pc:docMk/>
            <pc:sldMk cId="1206264418" sldId="1063"/>
            <ac:spMk id="125" creationId="{5F9139A0-1FC4-642B-E422-3C78BFFF977A}"/>
          </ac:spMkLst>
        </pc:spChg>
        <pc:spChg chg="mod">
          <ac:chgData name="Johan Ludvig Brattås" userId="3c382553f8c1b01a" providerId="LiveId" clId="{B80CE663-061C-0E44-A4A7-E59CEA039E16}" dt="2022-05-10T09:44:24.969" v="993"/>
          <ac:spMkLst>
            <pc:docMk/>
            <pc:sldMk cId="1206264418" sldId="1063"/>
            <ac:spMk id="126" creationId="{296786A2-268D-2521-05A5-42FC5250E921}"/>
          </ac:spMkLst>
        </pc:spChg>
        <pc:spChg chg="mod">
          <ac:chgData name="Johan Ludvig Brattås" userId="3c382553f8c1b01a" providerId="LiveId" clId="{B80CE663-061C-0E44-A4A7-E59CEA039E16}" dt="2022-05-10T09:44:24.969" v="993"/>
          <ac:spMkLst>
            <pc:docMk/>
            <pc:sldMk cId="1206264418" sldId="1063"/>
            <ac:spMk id="127" creationId="{81C43C2F-ACE4-CDC9-9CF5-436247EBFE8B}"/>
          </ac:spMkLst>
        </pc:spChg>
        <pc:spChg chg="mod">
          <ac:chgData name="Johan Ludvig Brattås" userId="3c382553f8c1b01a" providerId="LiveId" clId="{B80CE663-061C-0E44-A4A7-E59CEA039E16}" dt="2022-05-10T09:44:24.969" v="993"/>
          <ac:spMkLst>
            <pc:docMk/>
            <pc:sldMk cId="1206264418" sldId="1063"/>
            <ac:spMk id="128" creationId="{DC888C23-B8D8-8057-FDAC-80958571648B}"/>
          </ac:spMkLst>
        </pc:spChg>
        <pc:spChg chg="mod">
          <ac:chgData name="Johan Ludvig Brattås" userId="3c382553f8c1b01a" providerId="LiveId" clId="{B80CE663-061C-0E44-A4A7-E59CEA039E16}" dt="2022-05-10T09:44:24.969" v="993"/>
          <ac:spMkLst>
            <pc:docMk/>
            <pc:sldMk cId="1206264418" sldId="1063"/>
            <ac:spMk id="129" creationId="{21C4B6D7-C8E7-3EC2-488E-5743FD6670A5}"/>
          </ac:spMkLst>
        </pc:spChg>
        <pc:spChg chg="add mod">
          <ac:chgData name="Johan Ludvig Brattås" userId="3c382553f8c1b01a" providerId="LiveId" clId="{B80CE663-061C-0E44-A4A7-E59CEA039E16}" dt="2022-05-10T09:44:24.969" v="993"/>
          <ac:spMkLst>
            <pc:docMk/>
            <pc:sldMk cId="1206264418" sldId="1063"/>
            <ac:spMk id="130" creationId="{5F1DD6A4-5C29-58AE-568C-C93BB022673E}"/>
          </ac:spMkLst>
        </pc:spChg>
        <pc:spChg chg="mod">
          <ac:chgData name="Johan Ludvig Brattås" userId="3c382553f8c1b01a" providerId="LiveId" clId="{B80CE663-061C-0E44-A4A7-E59CEA039E16}" dt="2022-05-10T09:44:24.969" v="993"/>
          <ac:spMkLst>
            <pc:docMk/>
            <pc:sldMk cId="1206264418" sldId="1063"/>
            <ac:spMk id="132" creationId="{5820589C-9DFB-D052-CCC7-683B48BD5894}"/>
          </ac:spMkLst>
        </pc:spChg>
        <pc:spChg chg="mod">
          <ac:chgData name="Johan Ludvig Brattås" userId="3c382553f8c1b01a" providerId="LiveId" clId="{B80CE663-061C-0E44-A4A7-E59CEA039E16}" dt="2022-05-10T09:44:24.969" v="993"/>
          <ac:spMkLst>
            <pc:docMk/>
            <pc:sldMk cId="1206264418" sldId="1063"/>
            <ac:spMk id="134" creationId="{69E6ED45-1C93-8DDC-D8E3-F75935CA8999}"/>
          </ac:spMkLst>
        </pc:spChg>
        <pc:spChg chg="mod">
          <ac:chgData name="Johan Ludvig Brattås" userId="3c382553f8c1b01a" providerId="LiveId" clId="{B80CE663-061C-0E44-A4A7-E59CEA039E16}" dt="2022-05-10T09:44:24.969" v="993"/>
          <ac:spMkLst>
            <pc:docMk/>
            <pc:sldMk cId="1206264418" sldId="1063"/>
            <ac:spMk id="135" creationId="{18BAC7F9-D514-4836-E13B-991BF18A787F}"/>
          </ac:spMkLst>
        </pc:spChg>
        <pc:spChg chg="mod">
          <ac:chgData name="Johan Ludvig Brattås" userId="3c382553f8c1b01a" providerId="LiveId" clId="{B80CE663-061C-0E44-A4A7-E59CEA039E16}" dt="2022-05-10T09:44:24.969" v="993"/>
          <ac:spMkLst>
            <pc:docMk/>
            <pc:sldMk cId="1206264418" sldId="1063"/>
            <ac:spMk id="136" creationId="{DB1B7B91-3461-36AC-290D-ED2DCFDEB76E}"/>
          </ac:spMkLst>
        </pc:spChg>
        <pc:spChg chg="mod">
          <ac:chgData name="Johan Ludvig Brattås" userId="3c382553f8c1b01a" providerId="LiveId" clId="{B80CE663-061C-0E44-A4A7-E59CEA039E16}" dt="2022-05-10T09:44:24.969" v="993"/>
          <ac:spMkLst>
            <pc:docMk/>
            <pc:sldMk cId="1206264418" sldId="1063"/>
            <ac:spMk id="137" creationId="{3DA54AAE-4ECE-0AF0-9431-EA3E95918A38}"/>
          </ac:spMkLst>
        </pc:spChg>
        <pc:spChg chg="mod">
          <ac:chgData name="Johan Ludvig Brattås" userId="3c382553f8c1b01a" providerId="LiveId" clId="{B80CE663-061C-0E44-A4A7-E59CEA039E16}" dt="2022-05-10T09:44:24.969" v="993"/>
          <ac:spMkLst>
            <pc:docMk/>
            <pc:sldMk cId="1206264418" sldId="1063"/>
            <ac:spMk id="138" creationId="{0D905F02-3B30-52FA-77ED-231117AD53FF}"/>
          </ac:spMkLst>
        </pc:spChg>
        <pc:spChg chg="mod">
          <ac:chgData name="Johan Ludvig Brattås" userId="3c382553f8c1b01a" providerId="LiveId" clId="{B80CE663-061C-0E44-A4A7-E59CEA039E16}" dt="2022-05-10T09:44:24.969" v="993"/>
          <ac:spMkLst>
            <pc:docMk/>
            <pc:sldMk cId="1206264418" sldId="1063"/>
            <ac:spMk id="139" creationId="{BA7CA94D-E466-78B4-C068-D59A92C340E0}"/>
          </ac:spMkLst>
        </pc:spChg>
        <pc:spChg chg="mod">
          <ac:chgData name="Johan Ludvig Brattås" userId="3c382553f8c1b01a" providerId="LiveId" clId="{B80CE663-061C-0E44-A4A7-E59CEA039E16}" dt="2022-05-10T09:44:24.969" v="993"/>
          <ac:spMkLst>
            <pc:docMk/>
            <pc:sldMk cId="1206264418" sldId="1063"/>
            <ac:spMk id="140" creationId="{CA016892-EDF5-B255-FD3A-D04C20B4913A}"/>
          </ac:spMkLst>
        </pc:spChg>
        <pc:spChg chg="mod">
          <ac:chgData name="Johan Ludvig Brattås" userId="3c382553f8c1b01a" providerId="LiveId" clId="{B80CE663-061C-0E44-A4A7-E59CEA039E16}" dt="2022-05-10T09:44:24.969" v="993"/>
          <ac:spMkLst>
            <pc:docMk/>
            <pc:sldMk cId="1206264418" sldId="1063"/>
            <ac:spMk id="141" creationId="{84BF4719-86BE-E765-3E2A-2A70DCAADBF3}"/>
          </ac:spMkLst>
        </pc:spChg>
        <pc:spChg chg="mod">
          <ac:chgData name="Johan Ludvig Brattås" userId="3c382553f8c1b01a" providerId="LiveId" clId="{B80CE663-061C-0E44-A4A7-E59CEA039E16}" dt="2022-05-10T09:44:24.969" v="993"/>
          <ac:spMkLst>
            <pc:docMk/>
            <pc:sldMk cId="1206264418" sldId="1063"/>
            <ac:spMk id="142" creationId="{30B8A513-1D76-B2E0-9E58-9A1CC96C7463}"/>
          </ac:spMkLst>
        </pc:spChg>
        <pc:spChg chg="mod">
          <ac:chgData name="Johan Ludvig Brattås" userId="3c382553f8c1b01a" providerId="LiveId" clId="{B80CE663-061C-0E44-A4A7-E59CEA039E16}" dt="2022-05-10T09:44:24.969" v="993"/>
          <ac:spMkLst>
            <pc:docMk/>
            <pc:sldMk cId="1206264418" sldId="1063"/>
            <ac:spMk id="143" creationId="{166D137C-8268-2AA0-79F7-26DFFAA95656}"/>
          </ac:spMkLst>
        </pc:spChg>
        <pc:spChg chg="mod">
          <ac:chgData name="Johan Ludvig Brattås" userId="3c382553f8c1b01a" providerId="LiveId" clId="{B80CE663-061C-0E44-A4A7-E59CEA039E16}" dt="2022-05-10T09:44:24.969" v="993"/>
          <ac:spMkLst>
            <pc:docMk/>
            <pc:sldMk cId="1206264418" sldId="1063"/>
            <ac:spMk id="144" creationId="{6DFB86CF-7444-4E4A-C6AA-3597B6017D8D}"/>
          </ac:spMkLst>
        </pc:spChg>
        <pc:spChg chg="mod">
          <ac:chgData name="Johan Ludvig Brattås" userId="3c382553f8c1b01a" providerId="LiveId" clId="{B80CE663-061C-0E44-A4A7-E59CEA039E16}" dt="2022-05-10T09:44:24.969" v="993"/>
          <ac:spMkLst>
            <pc:docMk/>
            <pc:sldMk cId="1206264418" sldId="1063"/>
            <ac:spMk id="145" creationId="{E03B4B41-DF21-EE49-7369-9A5C9187038F}"/>
          </ac:spMkLst>
        </pc:spChg>
        <pc:spChg chg="mod">
          <ac:chgData name="Johan Ludvig Brattås" userId="3c382553f8c1b01a" providerId="LiveId" clId="{B80CE663-061C-0E44-A4A7-E59CEA039E16}" dt="2022-05-10T09:44:24.969" v="993"/>
          <ac:spMkLst>
            <pc:docMk/>
            <pc:sldMk cId="1206264418" sldId="1063"/>
            <ac:spMk id="146" creationId="{024FA88D-6EE0-2E7D-64C6-D2417F7B09ED}"/>
          </ac:spMkLst>
        </pc:spChg>
        <pc:spChg chg="add mod">
          <ac:chgData name="Johan Ludvig Brattås" userId="3c382553f8c1b01a" providerId="LiveId" clId="{B80CE663-061C-0E44-A4A7-E59CEA039E16}" dt="2022-05-10T09:44:24.969" v="993"/>
          <ac:spMkLst>
            <pc:docMk/>
            <pc:sldMk cId="1206264418" sldId="1063"/>
            <ac:spMk id="147" creationId="{E25CC6CE-B3C1-9881-88C8-5FF5C49D9EC1}"/>
          </ac:spMkLst>
        </pc:spChg>
        <pc:spChg chg="add mod">
          <ac:chgData name="Johan Ludvig Brattås" userId="3c382553f8c1b01a" providerId="LiveId" clId="{B80CE663-061C-0E44-A4A7-E59CEA039E16}" dt="2022-05-10T09:44:24.969" v="993"/>
          <ac:spMkLst>
            <pc:docMk/>
            <pc:sldMk cId="1206264418" sldId="1063"/>
            <ac:spMk id="148" creationId="{6B013056-C23F-53EC-9381-9185D47B0CC9}"/>
          </ac:spMkLst>
        </pc:spChg>
        <pc:spChg chg="add mod">
          <ac:chgData name="Johan Ludvig Brattås" userId="3c382553f8c1b01a" providerId="LiveId" clId="{B80CE663-061C-0E44-A4A7-E59CEA039E16}" dt="2022-05-10T09:45:02.733" v="995"/>
          <ac:spMkLst>
            <pc:docMk/>
            <pc:sldMk cId="1206264418" sldId="1063"/>
            <ac:spMk id="149" creationId="{CAD988A0-5CB2-F855-E74D-30A3D0B4B6EB}"/>
          </ac:spMkLst>
        </pc:spChg>
        <pc:grpChg chg="add mod">
          <ac:chgData name="Johan Ludvig Brattås" userId="3c382553f8c1b01a" providerId="LiveId" clId="{B80CE663-061C-0E44-A4A7-E59CEA039E16}" dt="2022-05-10T09:44:24.969" v="993"/>
          <ac:grpSpMkLst>
            <pc:docMk/>
            <pc:sldMk cId="1206264418" sldId="1063"/>
            <ac:grpSpMk id="7" creationId="{674CFEDD-023A-410C-96DD-55174949C64C}"/>
          </ac:grpSpMkLst>
        </pc:grpChg>
        <pc:grpChg chg="mod">
          <ac:chgData name="Johan Ludvig Brattås" userId="3c382553f8c1b01a" providerId="LiveId" clId="{B80CE663-061C-0E44-A4A7-E59CEA039E16}" dt="2022-05-10T09:44:24.969" v="993"/>
          <ac:grpSpMkLst>
            <pc:docMk/>
            <pc:sldMk cId="1206264418" sldId="1063"/>
            <ac:grpSpMk id="9" creationId="{382BD93C-9C0F-2F64-4F4E-D65223FCC3A5}"/>
          </ac:grpSpMkLst>
        </pc:grpChg>
        <pc:grpChg chg="mod">
          <ac:chgData name="Johan Ludvig Brattås" userId="3c382553f8c1b01a" providerId="LiveId" clId="{B80CE663-061C-0E44-A4A7-E59CEA039E16}" dt="2022-05-10T09:44:24.969" v="993"/>
          <ac:grpSpMkLst>
            <pc:docMk/>
            <pc:sldMk cId="1206264418" sldId="1063"/>
            <ac:grpSpMk id="10" creationId="{4B3CFBC9-3852-AF2B-4077-A98210F16F6E}"/>
          </ac:grpSpMkLst>
        </pc:grpChg>
        <pc:grpChg chg="mod">
          <ac:chgData name="Johan Ludvig Brattås" userId="3c382553f8c1b01a" providerId="LiveId" clId="{B80CE663-061C-0E44-A4A7-E59CEA039E16}" dt="2022-05-10T09:44:24.969" v="993"/>
          <ac:grpSpMkLst>
            <pc:docMk/>
            <pc:sldMk cId="1206264418" sldId="1063"/>
            <ac:grpSpMk id="11" creationId="{3B075099-047F-8EFA-2574-B7A250F138DE}"/>
          </ac:grpSpMkLst>
        </pc:grpChg>
        <pc:grpChg chg="mod">
          <ac:chgData name="Johan Ludvig Brattås" userId="3c382553f8c1b01a" providerId="LiveId" clId="{B80CE663-061C-0E44-A4A7-E59CEA039E16}" dt="2022-05-10T09:44:24.969" v="993"/>
          <ac:grpSpMkLst>
            <pc:docMk/>
            <pc:sldMk cId="1206264418" sldId="1063"/>
            <ac:grpSpMk id="12" creationId="{A6CE8203-623F-F973-1E9A-A36C0384EE27}"/>
          </ac:grpSpMkLst>
        </pc:grpChg>
        <pc:grpChg chg="add mod">
          <ac:chgData name="Johan Ludvig Brattås" userId="3c382553f8c1b01a" providerId="LiveId" clId="{B80CE663-061C-0E44-A4A7-E59CEA039E16}" dt="2022-05-10T09:44:24.969" v="993"/>
          <ac:grpSpMkLst>
            <pc:docMk/>
            <pc:sldMk cId="1206264418" sldId="1063"/>
            <ac:grpSpMk id="21" creationId="{CEAF1FE6-5D89-0257-E449-DED41666AFBE}"/>
          </ac:grpSpMkLst>
        </pc:grpChg>
        <pc:grpChg chg="mod">
          <ac:chgData name="Johan Ludvig Brattås" userId="3c382553f8c1b01a" providerId="LiveId" clId="{B80CE663-061C-0E44-A4A7-E59CEA039E16}" dt="2022-05-10T09:44:24.969" v="993"/>
          <ac:grpSpMkLst>
            <pc:docMk/>
            <pc:sldMk cId="1206264418" sldId="1063"/>
            <ac:grpSpMk id="23" creationId="{9FDA2222-92F7-9B1A-D05E-E36D93FED122}"/>
          </ac:grpSpMkLst>
        </pc:grpChg>
        <pc:grpChg chg="mod">
          <ac:chgData name="Johan Ludvig Brattås" userId="3c382553f8c1b01a" providerId="LiveId" clId="{B80CE663-061C-0E44-A4A7-E59CEA039E16}" dt="2022-05-10T09:44:24.969" v="993"/>
          <ac:grpSpMkLst>
            <pc:docMk/>
            <pc:sldMk cId="1206264418" sldId="1063"/>
            <ac:grpSpMk id="30" creationId="{84C1D78F-C7C0-8CA1-927F-BDDE5F51773E}"/>
          </ac:grpSpMkLst>
        </pc:grpChg>
        <pc:grpChg chg="mod">
          <ac:chgData name="Johan Ludvig Brattås" userId="3c382553f8c1b01a" providerId="LiveId" clId="{B80CE663-061C-0E44-A4A7-E59CEA039E16}" dt="2022-05-10T09:44:24.969" v="993"/>
          <ac:grpSpMkLst>
            <pc:docMk/>
            <pc:sldMk cId="1206264418" sldId="1063"/>
            <ac:grpSpMk id="31" creationId="{EA69208B-0641-70C6-9DD5-2FF2A94A6AEA}"/>
          </ac:grpSpMkLst>
        </pc:grpChg>
        <pc:grpChg chg="mod">
          <ac:chgData name="Johan Ludvig Brattås" userId="3c382553f8c1b01a" providerId="LiveId" clId="{B80CE663-061C-0E44-A4A7-E59CEA039E16}" dt="2022-05-10T09:44:24.969" v="993"/>
          <ac:grpSpMkLst>
            <pc:docMk/>
            <pc:sldMk cId="1206264418" sldId="1063"/>
            <ac:grpSpMk id="32" creationId="{CF2A88D5-3F77-E3E1-B977-81965FA14180}"/>
          </ac:grpSpMkLst>
        </pc:grpChg>
        <pc:grpChg chg="mod">
          <ac:chgData name="Johan Ludvig Brattås" userId="3c382553f8c1b01a" providerId="LiveId" clId="{B80CE663-061C-0E44-A4A7-E59CEA039E16}" dt="2022-05-10T09:44:24.969" v="993"/>
          <ac:grpSpMkLst>
            <pc:docMk/>
            <pc:sldMk cId="1206264418" sldId="1063"/>
            <ac:grpSpMk id="33" creationId="{CF350CE3-0782-35CA-1E88-7B0BF0509D47}"/>
          </ac:grpSpMkLst>
        </pc:grpChg>
        <pc:grpChg chg="add mod">
          <ac:chgData name="Johan Ludvig Brattås" userId="3c382553f8c1b01a" providerId="LiveId" clId="{B80CE663-061C-0E44-A4A7-E59CEA039E16}" dt="2022-05-10T09:44:24.969" v="993"/>
          <ac:grpSpMkLst>
            <pc:docMk/>
            <pc:sldMk cId="1206264418" sldId="1063"/>
            <ac:grpSpMk id="43" creationId="{4C2EF210-CEE0-1B08-4CF4-FDB5C29724D2}"/>
          </ac:grpSpMkLst>
        </pc:grpChg>
        <pc:grpChg chg="mod">
          <ac:chgData name="Johan Ludvig Brattås" userId="3c382553f8c1b01a" providerId="LiveId" clId="{B80CE663-061C-0E44-A4A7-E59CEA039E16}" dt="2022-05-10T09:44:24.969" v="993"/>
          <ac:grpSpMkLst>
            <pc:docMk/>
            <pc:sldMk cId="1206264418" sldId="1063"/>
            <ac:grpSpMk id="45" creationId="{6923DBD9-45C4-FB8D-E3B9-E644201B52A4}"/>
          </ac:grpSpMkLst>
        </pc:grpChg>
        <pc:grpChg chg="mod">
          <ac:chgData name="Johan Ludvig Brattås" userId="3c382553f8c1b01a" providerId="LiveId" clId="{B80CE663-061C-0E44-A4A7-E59CEA039E16}" dt="2022-05-10T09:44:24.969" v="993"/>
          <ac:grpSpMkLst>
            <pc:docMk/>
            <pc:sldMk cId="1206264418" sldId="1063"/>
            <ac:grpSpMk id="52" creationId="{04493B7C-7521-B430-8CDB-A712693B83F2}"/>
          </ac:grpSpMkLst>
        </pc:grpChg>
        <pc:grpChg chg="mod">
          <ac:chgData name="Johan Ludvig Brattås" userId="3c382553f8c1b01a" providerId="LiveId" clId="{B80CE663-061C-0E44-A4A7-E59CEA039E16}" dt="2022-05-10T09:44:24.969" v="993"/>
          <ac:grpSpMkLst>
            <pc:docMk/>
            <pc:sldMk cId="1206264418" sldId="1063"/>
            <ac:grpSpMk id="53" creationId="{CD52C0D1-46AE-E9A2-FFD9-35CBAFE86414}"/>
          </ac:grpSpMkLst>
        </pc:grpChg>
        <pc:grpChg chg="mod">
          <ac:chgData name="Johan Ludvig Brattås" userId="3c382553f8c1b01a" providerId="LiveId" clId="{B80CE663-061C-0E44-A4A7-E59CEA039E16}" dt="2022-05-10T09:44:24.969" v="993"/>
          <ac:grpSpMkLst>
            <pc:docMk/>
            <pc:sldMk cId="1206264418" sldId="1063"/>
            <ac:grpSpMk id="54" creationId="{5A3F3A8A-D70F-90CF-66F3-8C92E55884B4}"/>
          </ac:grpSpMkLst>
        </pc:grpChg>
        <pc:grpChg chg="mod">
          <ac:chgData name="Johan Ludvig Brattås" userId="3c382553f8c1b01a" providerId="LiveId" clId="{B80CE663-061C-0E44-A4A7-E59CEA039E16}" dt="2022-05-10T09:44:24.969" v="993"/>
          <ac:grpSpMkLst>
            <pc:docMk/>
            <pc:sldMk cId="1206264418" sldId="1063"/>
            <ac:grpSpMk id="55" creationId="{43090F69-636A-5159-A5B3-9B1BDF5807D0}"/>
          </ac:grpSpMkLst>
        </pc:grpChg>
        <pc:grpChg chg="mod">
          <ac:chgData name="Johan Ludvig Brattås" userId="3c382553f8c1b01a" providerId="LiveId" clId="{B80CE663-061C-0E44-A4A7-E59CEA039E16}" dt="2022-05-10T09:44:24.969" v="993"/>
          <ac:grpSpMkLst>
            <pc:docMk/>
            <pc:sldMk cId="1206264418" sldId="1063"/>
            <ac:grpSpMk id="56" creationId="{5443EA45-1C9D-DA40-C599-F9561BFCC8F8}"/>
          </ac:grpSpMkLst>
        </pc:grpChg>
        <pc:grpChg chg="add mod">
          <ac:chgData name="Johan Ludvig Brattås" userId="3c382553f8c1b01a" providerId="LiveId" clId="{B80CE663-061C-0E44-A4A7-E59CEA039E16}" dt="2022-05-10T09:44:24.969" v="993"/>
          <ac:grpSpMkLst>
            <pc:docMk/>
            <pc:sldMk cId="1206264418" sldId="1063"/>
            <ac:grpSpMk id="68" creationId="{8146192D-F914-A8F3-5818-099E10455F55}"/>
          </ac:grpSpMkLst>
        </pc:grpChg>
        <pc:grpChg chg="mod">
          <ac:chgData name="Johan Ludvig Brattås" userId="3c382553f8c1b01a" providerId="LiveId" clId="{B80CE663-061C-0E44-A4A7-E59CEA039E16}" dt="2022-05-10T09:44:24.969" v="993"/>
          <ac:grpSpMkLst>
            <pc:docMk/>
            <pc:sldMk cId="1206264418" sldId="1063"/>
            <ac:grpSpMk id="70" creationId="{29AA4B64-BD0C-427E-301E-CDADCE8A0E8F}"/>
          </ac:grpSpMkLst>
        </pc:grpChg>
        <pc:grpChg chg="mod">
          <ac:chgData name="Johan Ludvig Brattås" userId="3c382553f8c1b01a" providerId="LiveId" clId="{B80CE663-061C-0E44-A4A7-E59CEA039E16}" dt="2022-05-10T09:44:24.969" v="993"/>
          <ac:grpSpMkLst>
            <pc:docMk/>
            <pc:sldMk cId="1206264418" sldId="1063"/>
            <ac:grpSpMk id="71" creationId="{89594E60-1922-DB14-B778-41EE16697A84}"/>
          </ac:grpSpMkLst>
        </pc:grpChg>
        <pc:grpChg chg="mod">
          <ac:chgData name="Johan Ludvig Brattås" userId="3c382553f8c1b01a" providerId="LiveId" clId="{B80CE663-061C-0E44-A4A7-E59CEA039E16}" dt="2022-05-10T09:44:24.969" v="993"/>
          <ac:grpSpMkLst>
            <pc:docMk/>
            <pc:sldMk cId="1206264418" sldId="1063"/>
            <ac:grpSpMk id="72" creationId="{F8F306A9-8C74-A4C3-13FD-F37B87F89F47}"/>
          </ac:grpSpMkLst>
        </pc:grpChg>
        <pc:grpChg chg="add mod">
          <ac:chgData name="Johan Ludvig Brattås" userId="3c382553f8c1b01a" providerId="LiveId" clId="{B80CE663-061C-0E44-A4A7-E59CEA039E16}" dt="2022-05-10T09:44:24.969" v="993"/>
          <ac:grpSpMkLst>
            <pc:docMk/>
            <pc:sldMk cId="1206264418" sldId="1063"/>
            <ac:grpSpMk id="92" creationId="{21CB1082-D5F3-EC3D-9274-8E0A68E9936B}"/>
          </ac:grpSpMkLst>
        </pc:grpChg>
        <pc:grpChg chg="mod">
          <ac:chgData name="Johan Ludvig Brattås" userId="3c382553f8c1b01a" providerId="LiveId" clId="{B80CE663-061C-0E44-A4A7-E59CEA039E16}" dt="2022-05-10T09:44:24.969" v="993"/>
          <ac:grpSpMkLst>
            <pc:docMk/>
            <pc:sldMk cId="1206264418" sldId="1063"/>
            <ac:grpSpMk id="94" creationId="{5F3C9233-8755-F19B-2E59-BE547E0E06A3}"/>
          </ac:grpSpMkLst>
        </pc:grpChg>
        <pc:grpChg chg="add mod">
          <ac:chgData name="Johan Ludvig Brattås" userId="3c382553f8c1b01a" providerId="LiveId" clId="{B80CE663-061C-0E44-A4A7-E59CEA039E16}" dt="2022-05-10T09:44:24.969" v="993"/>
          <ac:grpSpMkLst>
            <pc:docMk/>
            <pc:sldMk cId="1206264418" sldId="1063"/>
            <ac:grpSpMk id="106" creationId="{C6A6E056-D0BD-A287-7B76-09526C3BC6A5}"/>
          </ac:grpSpMkLst>
        </pc:grpChg>
        <pc:grpChg chg="mod">
          <ac:chgData name="Johan Ludvig Brattås" userId="3c382553f8c1b01a" providerId="LiveId" clId="{B80CE663-061C-0E44-A4A7-E59CEA039E16}" dt="2022-05-10T09:44:24.969" v="993"/>
          <ac:grpSpMkLst>
            <pc:docMk/>
            <pc:sldMk cId="1206264418" sldId="1063"/>
            <ac:grpSpMk id="108" creationId="{CFE87A7F-4068-C6F2-0CDF-7ACE4F1D1CA3}"/>
          </ac:grpSpMkLst>
        </pc:grpChg>
        <pc:grpChg chg="mod">
          <ac:chgData name="Johan Ludvig Brattås" userId="3c382553f8c1b01a" providerId="LiveId" clId="{B80CE663-061C-0E44-A4A7-E59CEA039E16}" dt="2022-05-10T09:44:24.969" v="993"/>
          <ac:grpSpMkLst>
            <pc:docMk/>
            <pc:sldMk cId="1206264418" sldId="1063"/>
            <ac:grpSpMk id="109" creationId="{B8506A81-E48D-8ABC-1B22-32543A612839}"/>
          </ac:grpSpMkLst>
        </pc:grpChg>
        <pc:grpChg chg="mod">
          <ac:chgData name="Johan Ludvig Brattås" userId="3c382553f8c1b01a" providerId="LiveId" clId="{B80CE663-061C-0E44-A4A7-E59CEA039E16}" dt="2022-05-10T09:44:24.969" v="993"/>
          <ac:grpSpMkLst>
            <pc:docMk/>
            <pc:sldMk cId="1206264418" sldId="1063"/>
            <ac:grpSpMk id="110" creationId="{7A079BAB-B5A2-1D81-5E87-1B184808703C}"/>
          </ac:grpSpMkLst>
        </pc:grpChg>
        <pc:grpChg chg="mod">
          <ac:chgData name="Johan Ludvig Brattås" userId="3c382553f8c1b01a" providerId="LiveId" clId="{B80CE663-061C-0E44-A4A7-E59CEA039E16}" dt="2022-05-10T09:44:24.969" v="993"/>
          <ac:grpSpMkLst>
            <pc:docMk/>
            <pc:sldMk cId="1206264418" sldId="1063"/>
            <ac:grpSpMk id="111" creationId="{31A79C33-7078-0E6E-F2B8-A7745E5266DB}"/>
          </ac:grpSpMkLst>
        </pc:grpChg>
        <pc:grpChg chg="add mod">
          <ac:chgData name="Johan Ludvig Brattås" userId="3c382553f8c1b01a" providerId="LiveId" clId="{B80CE663-061C-0E44-A4A7-E59CEA039E16}" dt="2022-05-10T09:44:24.969" v="993"/>
          <ac:grpSpMkLst>
            <pc:docMk/>
            <pc:sldMk cId="1206264418" sldId="1063"/>
            <ac:grpSpMk id="119" creationId="{185EBDCE-B82D-BD1C-0A8F-532DE9AE7615}"/>
          </ac:grpSpMkLst>
        </pc:grpChg>
        <pc:grpChg chg="mod">
          <ac:chgData name="Johan Ludvig Brattås" userId="3c382553f8c1b01a" providerId="LiveId" clId="{B80CE663-061C-0E44-A4A7-E59CEA039E16}" dt="2022-05-10T09:44:24.969" v="993"/>
          <ac:grpSpMkLst>
            <pc:docMk/>
            <pc:sldMk cId="1206264418" sldId="1063"/>
            <ac:grpSpMk id="121" creationId="{C4D9EB49-9326-0138-E76A-14062AA74E41}"/>
          </ac:grpSpMkLst>
        </pc:grpChg>
        <pc:grpChg chg="mod">
          <ac:chgData name="Johan Ludvig Brattås" userId="3c382553f8c1b01a" providerId="LiveId" clId="{B80CE663-061C-0E44-A4A7-E59CEA039E16}" dt="2022-05-10T09:44:24.969" v="993"/>
          <ac:grpSpMkLst>
            <pc:docMk/>
            <pc:sldMk cId="1206264418" sldId="1063"/>
            <ac:grpSpMk id="124" creationId="{BA891003-6B43-28F0-1F55-1C548F6D9807}"/>
          </ac:grpSpMkLst>
        </pc:grpChg>
        <pc:grpChg chg="add mod">
          <ac:chgData name="Johan Ludvig Brattås" userId="3c382553f8c1b01a" providerId="LiveId" clId="{B80CE663-061C-0E44-A4A7-E59CEA039E16}" dt="2022-05-10T09:44:24.969" v="993"/>
          <ac:grpSpMkLst>
            <pc:docMk/>
            <pc:sldMk cId="1206264418" sldId="1063"/>
            <ac:grpSpMk id="131" creationId="{527E9955-3D74-071F-14D9-883AC2614717}"/>
          </ac:grpSpMkLst>
        </pc:grpChg>
        <pc:grpChg chg="mod">
          <ac:chgData name="Johan Ludvig Brattås" userId="3c382553f8c1b01a" providerId="LiveId" clId="{B80CE663-061C-0E44-A4A7-E59CEA039E16}" dt="2022-05-10T09:44:24.969" v="993"/>
          <ac:grpSpMkLst>
            <pc:docMk/>
            <pc:sldMk cId="1206264418" sldId="1063"/>
            <ac:grpSpMk id="133" creationId="{AEA6B352-73E2-68EA-6F59-94E0046F72E7}"/>
          </ac:grpSpMkLst>
        </pc:grpChg>
      </pc:sldChg>
      <pc:sldChg chg="addSp modSp new mod ord modAnim">
        <pc:chgData name="Johan Ludvig Brattås" userId="3c382553f8c1b01a" providerId="LiveId" clId="{B80CE663-061C-0E44-A4A7-E59CEA039E16}" dt="2022-05-10T08:18:03.730" v="894" actId="20578"/>
        <pc:sldMkLst>
          <pc:docMk/>
          <pc:sldMk cId="3402461535" sldId="1064"/>
        </pc:sldMkLst>
        <pc:spChg chg="mod">
          <ac:chgData name="Johan Ludvig Brattås" userId="3c382553f8c1b01a" providerId="LiveId" clId="{B80CE663-061C-0E44-A4A7-E59CEA039E16}" dt="2022-05-10T08:16:37.121" v="884" actId="12"/>
          <ac:spMkLst>
            <pc:docMk/>
            <pc:sldMk cId="3402461535" sldId="1064"/>
            <ac:spMk id="2" creationId="{58B3A74D-FA5A-9446-CA45-33D2A884C6CE}"/>
          </ac:spMkLst>
        </pc:spChg>
        <pc:spChg chg="mod">
          <ac:chgData name="Johan Ludvig Brattås" userId="3c382553f8c1b01a" providerId="LiveId" clId="{B80CE663-061C-0E44-A4A7-E59CEA039E16}" dt="2022-05-09T13:40:14.886" v="219" actId="20577"/>
          <ac:spMkLst>
            <pc:docMk/>
            <pc:sldMk cId="3402461535" sldId="1064"/>
            <ac:spMk id="3" creationId="{1CD1B7BA-7744-5C50-043E-6E1582269378}"/>
          </ac:spMkLst>
        </pc:spChg>
        <pc:picChg chg="add mod">
          <ac:chgData name="Johan Ludvig Brattås" userId="3c382553f8c1b01a" providerId="LiveId" clId="{B80CE663-061C-0E44-A4A7-E59CEA039E16}" dt="2022-05-10T07:34:26.383" v="511" actId="1076"/>
          <ac:picMkLst>
            <pc:docMk/>
            <pc:sldMk cId="3402461535" sldId="1064"/>
            <ac:picMk id="1026" creationId="{8DA78A96-DB7E-7D99-15F0-538F97739620}"/>
          </ac:picMkLst>
        </pc:picChg>
      </pc:sldChg>
      <pc:sldChg chg="modSp new mod ord modAnim">
        <pc:chgData name="Johan Ludvig Brattås" userId="3c382553f8c1b01a" providerId="LiveId" clId="{B80CE663-061C-0E44-A4A7-E59CEA039E16}" dt="2022-05-10T09:37:53.920" v="929" actId="20577"/>
        <pc:sldMkLst>
          <pc:docMk/>
          <pc:sldMk cId="3369199511" sldId="1065"/>
        </pc:sldMkLst>
        <pc:spChg chg="mod">
          <ac:chgData name="Johan Ludvig Brattås" userId="3c382553f8c1b01a" providerId="LiveId" clId="{B80CE663-061C-0E44-A4A7-E59CEA039E16}" dt="2022-05-10T09:37:53.920" v="929" actId="20577"/>
          <ac:spMkLst>
            <pc:docMk/>
            <pc:sldMk cId="3369199511" sldId="1065"/>
            <ac:spMk id="2" creationId="{555F2929-A494-3AA9-A936-7381455E32B0}"/>
          </ac:spMkLst>
        </pc:spChg>
        <pc:spChg chg="mod">
          <ac:chgData name="Johan Ludvig Brattås" userId="3c382553f8c1b01a" providerId="LiveId" clId="{B80CE663-061C-0E44-A4A7-E59CEA039E16}" dt="2022-05-09T13:41:38.446" v="388" actId="20577"/>
          <ac:spMkLst>
            <pc:docMk/>
            <pc:sldMk cId="3369199511" sldId="1065"/>
            <ac:spMk id="3" creationId="{DB2AE3AD-8A3E-44D8-83FA-24651FFB5741}"/>
          </ac:spMkLst>
        </pc:spChg>
      </pc:sldChg>
      <pc:sldChg chg="addSp modSp new mod ord">
        <pc:chgData name="Johan Ludvig Brattås" userId="3c382553f8c1b01a" providerId="LiveId" clId="{B80CE663-061C-0E44-A4A7-E59CEA039E16}" dt="2022-05-10T08:18:03.730" v="894" actId="20578"/>
        <pc:sldMkLst>
          <pc:docMk/>
          <pc:sldMk cId="1650219265" sldId="1066"/>
        </pc:sldMkLst>
        <pc:spChg chg="mod">
          <ac:chgData name="Johan Ludvig Brattås" userId="3c382553f8c1b01a" providerId="LiveId" clId="{B80CE663-061C-0E44-A4A7-E59CEA039E16}" dt="2022-05-10T07:35:28.542" v="543" actId="166"/>
          <ac:spMkLst>
            <pc:docMk/>
            <pc:sldMk cId="1650219265" sldId="1066"/>
            <ac:spMk id="3" creationId="{68C00680-9C52-D9A9-C89A-EBE60A6FCD2D}"/>
          </ac:spMkLst>
        </pc:spChg>
        <pc:picChg chg="add mod">
          <ac:chgData name="Johan Ludvig Brattås" userId="3c382553f8c1b01a" providerId="LiveId" clId="{B80CE663-061C-0E44-A4A7-E59CEA039E16}" dt="2022-05-10T07:35:01.712" v="516" actId="1076"/>
          <ac:picMkLst>
            <pc:docMk/>
            <pc:sldMk cId="1650219265" sldId="1066"/>
            <ac:picMk id="2050" creationId="{EB6327B4-6638-3A3F-B5E3-978A3E7159A6}"/>
          </ac:picMkLst>
        </pc:picChg>
      </pc:sldChg>
      <pc:sldChg chg="addSp new">
        <pc:chgData name="Johan Ludvig Brattås" userId="3c382553f8c1b01a" providerId="LiveId" clId="{B80CE663-061C-0E44-A4A7-E59CEA039E16}" dt="2022-05-10T08:36:10.462" v="924"/>
        <pc:sldMkLst>
          <pc:docMk/>
          <pc:sldMk cId="4156808099" sldId="1067"/>
        </pc:sldMkLst>
        <pc:picChg chg="add">
          <ac:chgData name="Johan Ludvig Brattås" userId="3c382553f8c1b01a" providerId="LiveId" clId="{B80CE663-061C-0E44-A4A7-E59CEA039E16}" dt="2022-05-10T08:36:10.462" v="924"/>
          <ac:picMkLst>
            <pc:docMk/>
            <pc:sldMk cId="4156808099" sldId="1067"/>
            <ac:picMk id="3074" creationId="{480A1D34-C88B-4D0A-14FD-643E9971809B}"/>
          </ac:picMkLst>
        </pc:picChg>
      </pc:sldChg>
      <pc:sldChg chg="modSp add ord modAnim">
        <pc:chgData name="Johan Ludvig Brattås" userId="3c382553f8c1b01a" providerId="LiveId" clId="{B80CE663-061C-0E44-A4A7-E59CEA039E16}" dt="2022-05-10T09:42:49.640" v="989"/>
        <pc:sldMkLst>
          <pc:docMk/>
          <pc:sldMk cId="2801378730" sldId="1068"/>
        </pc:sldMkLst>
        <pc:spChg chg="mod">
          <ac:chgData name="Johan Ludvig Brattås" userId="3c382553f8c1b01a" providerId="LiveId" clId="{B80CE663-061C-0E44-A4A7-E59CEA039E16}" dt="2022-05-10T09:42:34.556" v="987" actId="20577"/>
          <ac:spMkLst>
            <pc:docMk/>
            <pc:sldMk cId="2801378730" sldId="1068"/>
            <ac:spMk id="2" creationId="{555F2929-A494-3AA9-A936-7381455E32B0}"/>
          </ac:spMkLst>
        </pc:spChg>
      </pc:sldChg>
      <pc:sldChg chg="modSp add del mod">
        <pc:chgData name="Johan Ludvig Brattås" userId="3c382553f8c1b01a" providerId="LiveId" clId="{B80CE663-061C-0E44-A4A7-E59CEA039E16}" dt="2022-05-10T11:08:11.916" v="1567" actId="2696"/>
        <pc:sldMkLst>
          <pc:docMk/>
          <pc:sldMk cId="535395544" sldId="2147374892"/>
        </pc:sldMkLst>
        <pc:spChg chg="mod">
          <ac:chgData name="Johan Ludvig Brattås" userId="3c382553f8c1b01a" providerId="LiveId" clId="{B80CE663-061C-0E44-A4A7-E59CEA039E16}" dt="2022-05-10T11:04:16.866" v="1438" actId="1076"/>
          <ac:spMkLst>
            <pc:docMk/>
            <pc:sldMk cId="535395544" sldId="2147374892"/>
            <ac:spMk id="2" creationId="{8CFD7671-101B-4D37-B6A2-3772EDB6014B}"/>
          </ac:spMkLst>
        </pc:spChg>
        <pc:picChg chg="mod">
          <ac:chgData name="Johan Ludvig Brattås" userId="3c382553f8c1b01a" providerId="LiveId" clId="{B80CE663-061C-0E44-A4A7-E59CEA039E16}" dt="2022-05-10T11:04:40.847" v="1444" actId="1076"/>
          <ac:picMkLst>
            <pc:docMk/>
            <pc:sldMk cId="535395544" sldId="2147374892"/>
            <ac:picMk id="4" creationId="{CE4C0D06-9927-455A-A9B2-3A64882AFA69}"/>
          </ac:picMkLst>
        </pc:picChg>
      </pc:sldChg>
      <pc:sldChg chg="addSp delSp modSp add mod">
        <pc:chgData name="Johan Ludvig Brattås" userId="3c382553f8c1b01a" providerId="LiveId" clId="{B80CE663-061C-0E44-A4A7-E59CEA039E16}" dt="2022-05-10T09:46:09.794" v="1000" actId="207"/>
        <pc:sldMkLst>
          <pc:docMk/>
          <pc:sldMk cId="3190108129" sldId="2147469828"/>
        </pc:sldMkLst>
        <pc:spChg chg="mod">
          <ac:chgData name="Johan Ludvig Brattås" userId="3c382553f8c1b01a" providerId="LiveId" clId="{B80CE663-061C-0E44-A4A7-E59CEA039E16}" dt="2022-05-10T09:46:03.882" v="999" actId="207"/>
          <ac:spMkLst>
            <pc:docMk/>
            <pc:sldMk cId="3190108129" sldId="2147469828"/>
            <ac:spMk id="2" creationId="{440694B4-B1E7-42A5-A1EB-ED3090C99543}"/>
          </ac:spMkLst>
        </pc:spChg>
        <pc:spChg chg="mod">
          <ac:chgData name="Johan Ludvig Brattås" userId="3c382553f8c1b01a" providerId="LiveId" clId="{B80CE663-061C-0E44-A4A7-E59CEA039E16}" dt="2022-05-10T09:46:09.794" v="1000" actId="207"/>
          <ac:spMkLst>
            <pc:docMk/>
            <pc:sldMk cId="3190108129" sldId="2147469828"/>
            <ac:spMk id="3" creationId="{9EE97E9C-E9EA-4346-85E9-EED063E41502}"/>
          </ac:spMkLst>
        </pc:spChg>
        <pc:spChg chg="add mod">
          <ac:chgData name="Johan Ludvig Brattås" userId="3c382553f8c1b01a" providerId="LiveId" clId="{B80CE663-061C-0E44-A4A7-E59CEA039E16}" dt="2022-05-10T09:39:29.018" v="937"/>
          <ac:spMkLst>
            <pc:docMk/>
            <pc:sldMk cId="3190108129" sldId="2147469828"/>
            <ac:spMk id="171" creationId="{335349AD-C714-A11E-3C18-8A80F39C671B}"/>
          </ac:spMkLst>
        </pc:spChg>
        <pc:spChg chg="del mod">
          <ac:chgData name="Johan Ludvig Brattås" userId="3c382553f8c1b01a" providerId="LiveId" clId="{B80CE663-061C-0E44-A4A7-E59CEA039E16}" dt="2022-05-10T09:39:20.133" v="934" actId="478"/>
          <ac:spMkLst>
            <pc:docMk/>
            <pc:sldMk cId="3190108129" sldId="2147469828"/>
            <ac:spMk id="174" creationId="{0B848981-F831-455F-B28D-BB817C2E46AE}"/>
          </ac:spMkLst>
        </pc:spChg>
      </pc:sldChg>
      <pc:sldChg chg="modSp add mod modAnim">
        <pc:chgData name="Johan Ludvig Brattås" userId="3c382553f8c1b01a" providerId="LiveId" clId="{B80CE663-061C-0E44-A4A7-E59CEA039E16}" dt="2022-05-10T11:18:34.326" v="1921" actId="20577"/>
        <pc:sldMkLst>
          <pc:docMk/>
          <pc:sldMk cId="3652546060" sldId="2147469829"/>
        </pc:sldMkLst>
        <pc:spChg chg="mod">
          <ac:chgData name="Johan Ludvig Brattås" userId="3c382553f8c1b01a" providerId="LiveId" clId="{B80CE663-061C-0E44-A4A7-E59CEA039E16}" dt="2022-05-10T11:18:34.326" v="1921" actId="20577"/>
          <ac:spMkLst>
            <pc:docMk/>
            <pc:sldMk cId="3652546060" sldId="2147469829"/>
            <ac:spMk id="2" creationId="{CB2C0F85-30AF-4A7B-938C-24C2F464A399}"/>
          </ac:spMkLst>
        </pc:spChg>
      </pc:sldChg>
      <pc:sldChg chg="add">
        <pc:chgData name="Johan Ludvig Brattås" userId="3c382553f8c1b01a" providerId="LiveId" clId="{B80CE663-061C-0E44-A4A7-E59CEA039E16}" dt="2022-05-10T10:01:59.952" v="1218" actId="2890"/>
        <pc:sldMkLst>
          <pc:docMk/>
          <pc:sldMk cId="4070768991" sldId="2147469830"/>
        </pc:sldMkLst>
      </pc:sldChg>
      <pc:sldChg chg="addSp delSp modSp new mod modAnim">
        <pc:chgData name="Johan Ludvig Brattås" userId="3c382553f8c1b01a" providerId="LiveId" clId="{B80CE663-061C-0E44-A4A7-E59CEA039E16}" dt="2022-05-10T11:18:28.856" v="1917" actId="20577"/>
        <pc:sldMkLst>
          <pc:docMk/>
          <pc:sldMk cId="3671192883" sldId="2147469831"/>
        </pc:sldMkLst>
        <pc:spChg chg="del">
          <ac:chgData name="Johan Ludvig Brattås" userId="3c382553f8c1b01a" providerId="LiveId" clId="{B80CE663-061C-0E44-A4A7-E59CEA039E16}" dt="2022-05-10T10:44:34.631" v="1347" actId="478"/>
          <ac:spMkLst>
            <pc:docMk/>
            <pc:sldMk cId="3671192883" sldId="2147469831"/>
            <ac:spMk id="2" creationId="{F32A231D-7DA5-06C0-F2D7-B6CD274F0FB3}"/>
          </ac:spMkLst>
        </pc:spChg>
        <pc:spChg chg="mod">
          <ac:chgData name="Johan Ludvig Brattås" userId="3c382553f8c1b01a" providerId="LiveId" clId="{B80CE663-061C-0E44-A4A7-E59CEA039E16}" dt="2022-05-10T11:18:28.856" v="1917" actId="20577"/>
          <ac:spMkLst>
            <pc:docMk/>
            <pc:sldMk cId="3671192883" sldId="2147469831"/>
            <ac:spMk id="3" creationId="{303FFC22-4D0F-996E-2B9B-A90E108B75C1}"/>
          </ac:spMkLst>
        </pc:spChg>
        <pc:spChg chg="add del mod">
          <ac:chgData name="Johan Ludvig Brattås" userId="3c382553f8c1b01a" providerId="LiveId" clId="{B80CE663-061C-0E44-A4A7-E59CEA039E16}" dt="2022-05-10T10:46:11.511" v="1358" actId="478"/>
          <ac:spMkLst>
            <pc:docMk/>
            <pc:sldMk cId="3671192883" sldId="2147469831"/>
            <ac:spMk id="5" creationId="{03F35C6C-FC8F-1F23-599F-A3D54F8CE521}"/>
          </ac:spMkLst>
        </pc:spChg>
        <pc:spChg chg="add mod">
          <ac:chgData name="Johan Ludvig Brattås" userId="3c382553f8c1b01a" providerId="LiveId" clId="{B80CE663-061C-0E44-A4A7-E59CEA039E16}" dt="2022-05-10T11:06:59.064" v="1550" actId="21"/>
          <ac:spMkLst>
            <pc:docMk/>
            <pc:sldMk cId="3671192883" sldId="2147469831"/>
            <ac:spMk id="7" creationId="{5883227B-676A-353F-9738-37F477064B57}"/>
          </ac:spMkLst>
        </pc:spChg>
        <pc:graphicFrameChg chg="add del mod">
          <ac:chgData name="Johan Ludvig Brattås" userId="3c382553f8c1b01a" providerId="LiveId" clId="{B80CE663-061C-0E44-A4A7-E59CEA039E16}" dt="2022-05-10T10:44:32.491" v="1346"/>
          <ac:graphicFrameMkLst>
            <pc:docMk/>
            <pc:sldMk cId="3671192883" sldId="2147469831"/>
            <ac:graphicFrameMk id="4" creationId="{6F8395A3-D734-9993-7D53-E458C289A03B}"/>
          </ac:graphicFrameMkLst>
        </pc:graphicFrameChg>
        <pc:picChg chg="add del mod">
          <ac:chgData name="Johan Ludvig Brattås" userId="3c382553f8c1b01a" providerId="LiveId" clId="{B80CE663-061C-0E44-A4A7-E59CEA039E16}" dt="2022-05-10T10:45:51.980" v="1356" actId="478"/>
          <ac:picMkLst>
            <pc:docMk/>
            <pc:sldMk cId="3671192883" sldId="2147469831"/>
            <ac:picMk id="8194" creationId="{A991B8B4-77D6-1DEF-4265-34984F6E3074}"/>
          </ac:picMkLst>
        </pc:picChg>
      </pc:sldChg>
      <pc:sldChg chg="addSp delSp modSp new mod modAnim">
        <pc:chgData name="Johan Ludvig Brattås" userId="3c382553f8c1b01a" providerId="LiveId" clId="{B80CE663-061C-0E44-A4A7-E59CEA039E16}" dt="2022-05-10T12:34:33.677" v="2799" actId="1076"/>
        <pc:sldMkLst>
          <pc:docMk/>
          <pc:sldMk cId="2797848451" sldId="2147469832"/>
        </pc:sldMkLst>
        <pc:spChg chg="del">
          <ac:chgData name="Johan Ludvig Brattås" userId="3c382553f8c1b01a" providerId="LiveId" clId="{B80CE663-061C-0E44-A4A7-E59CEA039E16}" dt="2022-05-10T12:34:16" v="2778" actId="478"/>
          <ac:spMkLst>
            <pc:docMk/>
            <pc:sldMk cId="2797848451" sldId="2147469832"/>
            <ac:spMk id="2" creationId="{D5D64656-DA41-84B7-D806-648DEB050A40}"/>
          </ac:spMkLst>
        </pc:spChg>
        <pc:spChg chg="mod">
          <ac:chgData name="Johan Ludvig Brattås" userId="3c382553f8c1b01a" providerId="LiveId" clId="{B80CE663-061C-0E44-A4A7-E59CEA039E16}" dt="2022-05-10T12:34:26.090" v="2797" actId="20577"/>
          <ac:spMkLst>
            <pc:docMk/>
            <pc:sldMk cId="2797848451" sldId="2147469832"/>
            <ac:spMk id="3" creationId="{C6C64885-29F5-D008-4FEE-093DABBD90FC}"/>
          </ac:spMkLst>
        </pc:spChg>
        <pc:picChg chg="add mod">
          <ac:chgData name="Johan Ludvig Brattås" userId="3c382553f8c1b01a" providerId="LiveId" clId="{B80CE663-061C-0E44-A4A7-E59CEA039E16}" dt="2022-05-10T12:34:33.677" v="2799" actId="1076"/>
          <ac:picMkLst>
            <pc:docMk/>
            <pc:sldMk cId="2797848451" sldId="2147469832"/>
            <ac:picMk id="4" creationId="{D66D2536-A89B-D0E4-F9A5-543D3B99D462}"/>
          </ac:picMkLst>
        </pc:picChg>
      </pc:sldChg>
      <pc:sldChg chg="add">
        <pc:chgData name="Johan Ludvig Brattås" userId="3c382553f8c1b01a" providerId="LiveId" clId="{B80CE663-061C-0E44-A4A7-E59CEA039E16}" dt="2022-05-10T10:45:49.314" v="1355" actId="2890"/>
        <pc:sldMkLst>
          <pc:docMk/>
          <pc:sldMk cId="2883095490" sldId="2147469833"/>
        </pc:sldMkLst>
      </pc:sldChg>
      <pc:sldChg chg="addSp modSp add mod">
        <pc:chgData name="Johan Ludvig Brattås" userId="3c382553f8c1b01a" providerId="LiveId" clId="{B80CE663-061C-0E44-A4A7-E59CEA039E16}" dt="2022-05-10T11:18:24.707" v="1915" actId="20577"/>
        <pc:sldMkLst>
          <pc:docMk/>
          <pc:sldMk cId="404572199" sldId="2147469834"/>
        </pc:sldMkLst>
        <pc:spChg chg="mod">
          <ac:chgData name="Johan Ludvig Brattås" userId="3c382553f8c1b01a" providerId="LiveId" clId="{B80CE663-061C-0E44-A4A7-E59CEA039E16}" dt="2022-05-10T11:18:24.707" v="1915" actId="20577"/>
          <ac:spMkLst>
            <pc:docMk/>
            <pc:sldMk cId="404572199" sldId="2147469834"/>
            <ac:spMk id="3" creationId="{303FFC22-4D0F-996E-2B9B-A90E108B75C1}"/>
          </ac:spMkLst>
        </pc:spChg>
        <pc:picChg chg="add mod">
          <ac:chgData name="Johan Ludvig Brattås" userId="3c382553f8c1b01a" providerId="LiveId" clId="{B80CE663-061C-0E44-A4A7-E59CEA039E16}" dt="2022-05-10T11:07:24.782" v="1557" actId="1076"/>
          <ac:picMkLst>
            <pc:docMk/>
            <pc:sldMk cId="404572199" sldId="2147469834"/>
            <ac:picMk id="4" creationId="{25DFFB12-2C5F-7946-E5EE-2CBBAD67CE3B}"/>
          </ac:picMkLst>
        </pc:picChg>
      </pc:sldChg>
      <pc:sldChg chg="addSp delSp modSp add mod">
        <pc:chgData name="Johan Ludvig Brattås" userId="3c382553f8c1b01a" providerId="LiveId" clId="{B80CE663-061C-0E44-A4A7-E59CEA039E16}" dt="2022-05-10T11:18:20.835" v="1913" actId="20577"/>
        <pc:sldMkLst>
          <pc:docMk/>
          <pc:sldMk cId="1924555872" sldId="2147469835"/>
        </pc:sldMkLst>
        <pc:spChg chg="mod">
          <ac:chgData name="Johan Ludvig Brattås" userId="3c382553f8c1b01a" providerId="LiveId" clId="{B80CE663-061C-0E44-A4A7-E59CEA039E16}" dt="2022-05-10T11:18:20.835" v="1913" actId="20577"/>
          <ac:spMkLst>
            <pc:docMk/>
            <pc:sldMk cId="1924555872" sldId="2147469835"/>
            <ac:spMk id="3" creationId="{303FFC22-4D0F-996E-2B9B-A90E108B75C1}"/>
          </ac:spMkLst>
        </pc:spChg>
        <pc:picChg chg="del">
          <ac:chgData name="Johan Ludvig Brattås" userId="3c382553f8c1b01a" providerId="LiveId" clId="{B80CE663-061C-0E44-A4A7-E59CEA039E16}" dt="2022-05-10T11:07:55.789" v="1562" actId="478"/>
          <ac:picMkLst>
            <pc:docMk/>
            <pc:sldMk cId="1924555872" sldId="2147469835"/>
            <ac:picMk id="4" creationId="{25DFFB12-2C5F-7946-E5EE-2CBBAD67CE3B}"/>
          </ac:picMkLst>
        </pc:picChg>
        <pc:picChg chg="add mod">
          <ac:chgData name="Johan Ludvig Brattås" userId="3c382553f8c1b01a" providerId="LiveId" clId="{B80CE663-061C-0E44-A4A7-E59CEA039E16}" dt="2022-05-10T11:08:07.016" v="1566" actId="1076"/>
          <ac:picMkLst>
            <pc:docMk/>
            <pc:sldMk cId="1924555872" sldId="2147469835"/>
            <ac:picMk id="5" creationId="{525AEF7F-9E29-E1FC-FCED-9E7FEFA2F8F4}"/>
          </ac:picMkLst>
        </pc:picChg>
      </pc:sldChg>
      <pc:sldChg chg="add del">
        <pc:chgData name="Johan Ludvig Brattås" userId="3c382553f8c1b01a" providerId="LiveId" clId="{B80CE663-061C-0E44-A4A7-E59CEA039E16}" dt="2022-05-10T11:07:49.245" v="1561" actId="2890"/>
        <pc:sldMkLst>
          <pc:docMk/>
          <pc:sldMk cId="2121844508" sldId="2147469836"/>
        </pc:sldMkLst>
      </pc:sldChg>
      <pc:sldChg chg="modSp add mod ord modAnim">
        <pc:chgData name="Johan Ludvig Brattås" userId="3c382553f8c1b01a" providerId="LiveId" clId="{B80CE663-061C-0E44-A4A7-E59CEA039E16}" dt="2022-05-10T11:12:46.992" v="1893"/>
        <pc:sldMkLst>
          <pc:docMk/>
          <pc:sldMk cId="3252509141" sldId="2147469836"/>
        </pc:sldMkLst>
        <pc:spChg chg="mod">
          <ac:chgData name="Johan Ludvig Brattås" userId="3c382553f8c1b01a" providerId="LiveId" clId="{B80CE663-061C-0E44-A4A7-E59CEA039E16}" dt="2022-05-10T11:12:20.460" v="1891" actId="20577"/>
          <ac:spMkLst>
            <pc:docMk/>
            <pc:sldMk cId="3252509141" sldId="2147469836"/>
            <ac:spMk id="7" creationId="{5883227B-676A-353F-9738-37F477064B57}"/>
          </ac:spMkLst>
        </pc:spChg>
      </pc:sldChg>
      <pc:sldChg chg="addSp delSp modSp add mod modAnim">
        <pc:chgData name="Johan Ludvig Brattås" userId="3c382553f8c1b01a" providerId="LiveId" clId="{B80CE663-061C-0E44-A4A7-E59CEA039E16}" dt="2022-05-10T11:25:26.075" v="2240" actId="20577"/>
        <pc:sldMkLst>
          <pc:docMk/>
          <pc:sldMk cId="506843135" sldId="2147469837"/>
        </pc:sldMkLst>
        <pc:spChg chg="mod">
          <ac:chgData name="Johan Ludvig Brattås" userId="3c382553f8c1b01a" providerId="LiveId" clId="{B80CE663-061C-0E44-A4A7-E59CEA039E16}" dt="2022-05-10T11:18:17.635" v="1911" actId="20577"/>
          <ac:spMkLst>
            <pc:docMk/>
            <pc:sldMk cId="506843135" sldId="2147469837"/>
            <ac:spMk id="3" creationId="{303FFC22-4D0F-996E-2B9B-A90E108B75C1}"/>
          </ac:spMkLst>
        </pc:spChg>
        <pc:spChg chg="add mod">
          <ac:chgData name="Johan Ludvig Brattås" userId="3c382553f8c1b01a" providerId="LiveId" clId="{B80CE663-061C-0E44-A4A7-E59CEA039E16}" dt="2022-05-10T11:25:26.075" v="2240" actId="20577"/>
          <ac:spMkLst>
            <pc:docMk/>
            <pc:sldMk cId="506843135" sldId="2147469837"/>
            <ac:spMk id="4" creationId="{1DF0AA61-61DA-3170-0CE7-E01E1D383DB5}"/>
          </ac:spMkLst>
        </pc:spChg>
        <pc:picChg chg="del">
          <ac:chgData name="Johan Ludvig Brattås" userId="3c382553f8c1b01a" providerId="LiveId" clId="{B80CE663-061C-0E44-A4A7-E59CEA039E16}" dt="2022-05-10T11:17:18.616" v="1895" actId="478"/>
          <ac:picMkLst>
            <pc:docMk/>
            <pc:sldMk cId="506843135" sldId="2147469837"/>
            <ac:picMk id="8194" creationId="{A991B8B4-77D6-1DEF-4265-34984F6E3074}"/>
          </ac:picMkLst>
        </pc:picChg>
      </pc:sldChg>
      <pc:sldChg chg="modSp add modAnim">
        <pc:chgData name="Johan Ludvig Brattås" userId="3c382553f8c1b01a" providerId="LiveId" clId="{B80CE663-061C-0E44-A4A7-E59CEA039E16}" dt="2022-05-10T12:23:53.565" v="2455" actId="20577"/>
        <pc:sldMkLst>
          <pc:docMk/>
          <pc:sldMk cId="2677082952" sldId="2147469838"/>
        </pc:sldMkLst>
        <pc:spChg chg="mod">
          <ac:chgData name="Johan Ludvig Brattås" userId="3c382553f8c1b01a" providerId="LiveId" clId="{B80CE663-061C-0E44-A4A7-E59CEA039E16}" dt="2022-05-10T12:23:53.565" v="2455" actId="20577"/>
          <ac:spMkLst>
            <pc:docMk/>
            <pc:sldMk cId="2677082952" sldId="2147469838"/>
            <ac:spMk id="4" creationId="{1DF0AA61-61DA-3170-0CE7-E01E1D383DB5}"/>
          </ac:spMkLst>
        </pc:spChg>
      </pc:sldChg>
      <pc:sldChg chg="addSp delSp modSp add del mod delAnim">
        <pc:chgData name="Johan Ludvig Brattås" userId="3c382553f8c1b01a" providerId="LiveId" clId="{B80CE663-061C-0E44-A4A7-E59CEA039E16}" dt="2022-05-10T12:42:15.086" v="2850" actId="2696"/>
        <pc:sldMkLst>
          <pc:docMk/>
          <pc:sldMk cId="1978754220" sldId="2147469839"/>
        </pc:sldMkLst>
        <pc:spChg chg="del">
          <ac:chgData name="Johan Ludvig Brattås" userId="3c382553f8c1b01a" providerId="LiveId" clId="{B80CE663-061C-0E44-A4A7-E59CEA039E16}" dt="2022-05-10T12:22:20.567" v="2410" actId="478"/>
          <ac:spMkLst>
            <pc:docMk/>
            <pc:sldMk cId="1978754220" sldId="2147469839"/>
            <ac:spMk id="4" creationId="{1DF0AA61-61DA-3170-0CE7-E01E1D383DB5}"/>
          </ac:spMkLst>
        </pc:spChg>
        <pc:spChg chg="add del mod">
          <ac:chgData name="Johan Ludvig Brattås" userId="3c382553f8c1b01a" providerId="LiveId" clId="{B80CE663-061C-0E44-A4A7-E59CEA039E16}" dt="2022-05-10T12:22:27.250" v="2411" actId="478"/>
          <ac:spMkLst>
            <pc:docMk/>
            <pc:sldMk cId="1978754220" sldId="2147469839"/>
            <ac:spMk id="6" creationId="{16EA6A73-B1A1-C18A-074A-8CAA86D066B0}"/>
          </ac:spMkLst>
        </pc:spChg>
        <pc:picChg chg="add mod">
          <ac:chgData name="Johan Ludvig Brattås" userId="3c382553f8c1b01a" providerId="LiveId" clId="{B80CE663-061C-0E44-A4A7-E59CEA039E16}" dt="2022-05-10T12:22:36.104" v="2415" actId="1076"/>
          <ac:picMkLst>
            <pc:docMk/>
            <pc:sldMk cId="1978754220" sldId="2147469839"/>
            <ac:picMk id="5" creationId="{45D75A97-A6A4-068B-B071-09C3206502E0}"/>
          </ac:picMkLst>
        </pc:picChg>
      </pc:sldChg>
      <pc:sldChg chg="addSp delSp modSp add del mod modClrScheme modAnim chgLayout">
        <pc:chgData name="Johan Ludvig Brattås" userId="3c382553f8c1b01a" providerId="LiveId" clId="{B80CE663-061C-0E44-A4A7-E59CEA039E16}" dt="2022-05-10T12:22:11.400" v="2407" actId="2696"/>
        <pc:sldMkLst>
          <pc:docMk/>
          <pc:sldMk cId="2968479236" sldId="2147469839"/>
        </pc:sldMkLst>
        <pc:spChg chg="mod">
          <ac:chgData name="Johan Ludvig Brattås" userId="3c382553f8c1b01a" providerId="LiveId" clId="{B80CE663-061C-0E44-A4A7-E59CEA039E16}" dt="2022-05-10T11:37:06.483" v="2381" actId="20577"/>
          <ac:spMkLst>
            <pc:docMk/>
            <pc:sldMk cId="2968479236" sldId="2147469839"/>
            <ac:spMk id="3" creationId="{303FFC22-4D0F-996E-2B9B-A90E108B75C1}"/>
          </ac:spMkLst>
        </pc:spChg>
        <pc:spChg chg="mod">
          <ac:chgData name="Johan Ludvig Brattås" userId="3c382553f8c1b01a" providerId="LiveId" clId="{B80CE663-061C-0E44-A4A7-E59CEA039E16}" dt="2022-05-10T11:37:31.488" v="2405" actId="20577"/>
          <ac:spMkLst>
            <pc:docMk/>
            <pc:sldMk cId="2968479236" sldId="2147469839"/>
            <ac:spMk id="4" creationId="{1DF0AA61-61DA-3170-0CE7-E01E1D383DB5}"/>
          </ac:spMkLst>
        </pc:spChg>
        <pc:picChg chg="add del mod ord">
          <ac:chgData name="Johan Ludvig Brattås" userId="3c382553f8c1b01a" providerId="LiveId" clId="{B80CE663-061C-0E44-A4A7-E59CEA039E16}" dt="2022-05-10T12:22:01.995" v="2406" actId="478"/>
          <ac:picMkLst>
            <pc:docMk/>
            <pc:sldMk cId="2968479236" sldId="2147469839"/>
            <ac:picMk id="12290" creationId="{F854B11A-75FD-9B9F-3CF2-DF3AC2B1EABF}"/>
          </ac:picMkLst>
        </pc:picChg>
      </pc:sldChg>
      <pc:sldChg chg="modSp add ord modAnim">
        <pc:chgData name="Johan Ludvig Brattås" userId="3c382553f8c1b01a" providerId="LiveId" clId="{B80CE663-061C-0E44-A4A7-E59CEA039E16}" dt="2022-05-10T12:32:38.244" v="2775" actId="5793"/>
        <pc:sldMkLst>
          <pc:docMk/>
          <pc:sldMk cId="2453724607" sldId="2147469840"/>
        </pc:sldMkLst>
        <pc:spChg chg="mod">
          <ac:chgData name="Johan Ludvig Brattås" userId="3c382553f8c1b01a" providerId="LiveId" clId="{B80CE663-061C-0E44-A4A7-E59CEA039E16}" dt="2022-05-10T12:32:38.244" v="2775" actId="5793"/>
          <ac:spMkLst>
            <pc:docMk/>
            <pc:sldMk cId="2453724607" sldId="2147469840"/>
            <ac:spMk id="4" creationId="{1DF0AA61-61DA-3170-0CE7-E01E1D383DB5}"/>
          </ac:spMkLst>
        </pc:spChg>
      </pc:sldChg>
      <pc:sldChg chg="addSp delSp modSp add mod ord delAnim">
        <pc:chgData name="Johan Ludvig Brattås" userId="3c382553f8c1b01a" providerId="LiveId" clId="{B80CE663-061C-0E44-A4A7-E59CEA039E16}" dt="2022-05-10T12:43:54.070" v="2862" actId="14100"/>
        <pc:sldMkLst>
          <pc:docMk/>
          <pc:sldMk cId="4289884300" sldId="2147469841"/>
        </pc:sldMkLst>
        <pc:spChg chg="del">
          <ac:chgData name="Johan Ludvig Brattås" userId="3c382553f8c1b01a" providerId="LiveId" clId="{B80CE663-061C-0E44-A4A7-E59CEA039E16}" dt="2022-05-10T12:27:20.898" v="2479" actId="478"/>
          <ac:spMkLst>
            <pc:docMk/>
            <pc:sldMk cId="4289884300" sldId="2147469841"/>
            <ac:spMk id="4" creationId="{1DF0AA61-61DA-3170-0CE7-E01E1D383DB5}"/>
          </ac:spMkLst>
        </pc:spChg>
        <pc:spChg chg="add del mod">
          <ac:chgData name="Johan Ludvig Brattås" userId="3c382553f8c1b01a" providerId="LiveId" clId="{B80CE663-061C-0E44-A4A7-E59CEA039E16}" dt="2022-05-10T12:27:23.237" v="2480" actId="478"/>
          <ac:spMkLst>
            <pc:docMk/>
            <pc:sldMk cId="4289884300" sldId="2147469841"/>
            <ac:spMk id="5" creationId="{0672F883-DC5E-88A3-8EB7-644EC8D9CCA5}"/>
          </ac:spMkLst>
        </pc:spChg>
        <pc:picChg chg="add mod">
          <ac:chgData name="Johan Ludvig Brattås" userId="3c382553f8c1b01a" providerId="LiveId" clId="{B80CE663-061C-0E44-A4A7-E59CEA039E16}" dt="2022-05-10T12:43:14.737" v="2855" actId="1076"/>
          <ac:picMkLst>
            <pc:docMk/>
            <pc:sldMk cId="4289884300" sldId="2147469841"/>
            <ac:picMk id="6" creationId="{9CEB8653-C751-DA8A-3D92-761ED8060A4A}"/>
          </ac:picMkLst>
        </pc:picChg>
        <pc:picChg chg="add mod">
          <ac:chgData name="Johan Ludvig Brattås" userId="3c382553f8c1b01a" providerId="LiveId" clId="{B80CE663-061C-0E44-A4A7-E59CEA039E16}" dt="2022-05-10T12:43:54.070" v="2862" actId="14100"/>
          <ac:picMkLst>
            <pc:docMk/>
            <pc:sldMk cId="4289884300" sldId="2147469841"/>
            <ac:picMk id="14337" creationId="{5D9D85E4-CFAB-A5B7-08D7-C98DF7AD01C7}"/>
          </ac:picMkLst>
        </pc:picChg>
      </pc:sldChg>
      <pc:sldChg chg="modSp add modAnim">
        <pc:chgData name="Johan Ludvig Brattås" userId="3c382553f8c1b01a" providerId="LiveId" clId="{B80CE663-061C-0E44-A4A7-E59CEA039E16}" dt="2022-05-10T12:53:19.745" v="3193" actId="20577"/>
        <pc:sldMkLst>
          <pc:docMk/>
          <pc:sldMk cId="3905134538" sldId="2147469842"/>
        </pc:sldMkLst>
        <pc:spChg chg="mod">
          <ac:chgData name="Johan Ludvig Brattås" userId="3c382553f8c1b01a" providerId="LiveId" clId="{B80CE663-061C-0E44-A4A7-E59CEA039E16}" dt="2022-05-10T12:53:19.745" v="3193" actId="20577"/>
          <ac:spMkLst>
            <pc:docMk/>
            <pc:sldMk cId="3905134538" sldId="2147469842"/>
            <ac:spMk id="4" creationId="{1DF0AA61-61DA-3170-0CE7-E01E1D383DB5}"/>
          </ac:spMkLst>
        </pc:spChg>
      </pc:sldChg>
      <pc:sldChg chg="addSp delSp modSp add del mod">
        <pc:chgData name="Johan Ludvig Brattås" userId="3c382553f8c1b01a" providerId="LiveId" clId="{B80CE663-061C-0E44-A4A7-E59CEA039E16}" dt="2022-05-10T12:42:05.548" v="2849" actId="732"/>
        <pc:sldMkLst>
          <pc:docMk/>
          <pc:sldMk cId="2304694501" sldId="2147469843"/>
        </pc:sldMkLst>
        <pc:picChg chg="del">
          <ac:chgData name="Johan Ludvig Brattås" userId="3c382553f8c1b01a" providerId="LiveId" clId="{B80CE663-061C-0E44-A4A7-E59CEA039E16}" dt="2022-05-10T12:38:51.858" v="2823" actId="478"/>
          <ac:picMkLst>
            <pc:docMk/>
            <pc:sldMk cId="2304694501" sldId="2147469843"/>
            <ac:picMk id="5" creationId="{45D75A97-A6A4-068B-B071-09C3206502E0}"/>
          </ac:picMkLst>
        </pc:picChg>
        <pc:picChg chg="add mod">
          <ac:chgData name="Johan Ludvig Brattås" userId="3c382553f8c1b01a" providerId="LiveId" clId="{B80CE663-061C-0E44-A4A7-E59CEA039E16}" dt="2022-05-10T12:42:05.548" v="2849" actId="732"/>
          <ac:picMkLst>
            <pc:docMk/>
            <pc:sldMk cId="2304694501" sldId="2147469843"/>
            <ac:picMk id="13313" creationId="{B229FCFF-F260-CE2E-341E-51A806176B89}"/>
          </ac:picMkLst>
        </pc:picChg>
      </pc:sldChg>
      <pc:sldChg chg="addSp new del mod ord modShow">
        <pc:chgData name="Johan Ludvig Brattås" userId="3c382553f8c1b01a" providerId="LiveId" clId="{B80CE663-061C-0E44-A4A7-E59CEA039E16}" dt="2022-05-18T19:14:25.803" v="4170" actId="2696"/>
        <pc:sldMkLst>
          <pc:docMk/>
          <pc:sldMk cId="249115905" sldId="2147469844"/>
        </pc:sldMkLst>
        <pc:picChg chg="add">
          <ac:chgData name="Johan Ludvig Brattås" userId="3c382553f8c1b01a" providerId="LiveId" clId="{B80CE663-061C-0E44-A4A7-E59CEA039E16}" dt="2022-05-10T12:49:17.779" v="3000"/>
          <ac:picMkLst>
            <pc:docMk/>
            <pc:sldMk cId="249115905" sldId="2147469844"/>
            <ac:picMk id="15362" creationId="{5302FDE3-EA50-654A-D69F-7998E44419F7}"/>
          </ac:picMkLst>
        </pc:picChg>
      </pc:sldChg>
      <pc:sldChg chg="addSp delSp modSp new mod ord">
        <pc:chgData name="Johan Ludvig Brattås" userId="3c382553f8c1b01a" providerId="LiveId" clId="{B80CE663-061C-0E44-A4A7-E59CEA039E16}" dt="2022-05-10T12:55:05.087" v="3208" actId="1076"/>
        <pc:sldMkLst>
          <pc:docMk/>
          <pc:sldMk cId="1648838781" sldId="2147469845"/>
        </pc:sldMkLst>
        <pc:spChg chg="del">
          <ac:chgData name="Johan Ludvig Brattås" userId="3c382553f8c1b01a" providerId="LiveId" clId="{B80CE663-061C-0E44-A4A7-E59CEA039E16}" dt="2022-05-10T12:55:02.640" v="3207" actId="478"/>
          <ac:spMkLst>
            <pc:docMk/>
            <pc:sldMk cId="1648838781" sldId="2147469845"/>
            <ac:spMk id="2" creationId="{D97E1DA7-5C3B-433B-DED4-9FA3459CE834}"/>
          </ac:spMkLst>
        </pc:spChg>
        <pc:spChg chg="mod">
          <ac:chgData name="Johan Ludvig Brattås" userId="3c382553f8c1b01a" providerId="LiveId" clId="{B80CE663-061C-0E44-A4A7-E59CEA039E16}" dt="2022-05-10T12:54:59.342" v="3206"/>
          <ac:spMkLst>
            <pc:docMk/>
            <pc:sldMk cId="1648838781" sldId="2147469845"/>
            <ac:spMk id="3" creationId="{F5E867D6-526E-FE2B-A6E1-D2B9428C278F}"/>
          </ac:spMkLst>
        </pc:spChg>
        <pc:picChg chg="add mod">
          <ac:chgData name="Johan Ludvig Brattås" userId="3c382553f8c1b01a" providerId="LiveId" clId="{B80CE663-061C-0E44-A4A7-E59CEA039E16}" dt="2022-05-10T12:55:05.087" v="3208" actId="1076"/>
          <ac:picMkLst>
            <pc:docMk/>
            <pc:sldMk cId="1648838781" sldId="2147469845"/>
            <ac:picMk id="16386" creationId="{B8A6354B-D417-459F-0E3E-F0FC55BA7E5E}"/>
          </ac:picMkLst>
        </pc:picChg>
      </pc:sldChg>
      <pc:sldChg chg="modSp add ord modAnim">
        <pc:chgData name="Johan Ludvig Brattås" userId="3c382553f8c1b01a" providerId="LiveId" clId="{B80CE663-061C-0E44-A4A7-E59CEA039E16}" dt="2022-05-10T13:02:01.651" v="3498" actId="20577"/>
        <pc:sldMkLst>
          <pc:docMk/>
          <pc:sldMk cId="1497184102" sldId="2147469846"/>
        </pc:sldMkLst>
        <pc:spChg chg="mod">
          <ac:chgData name="Johan Ludvig Brattås" userId="3c382553f8c1b01a" providerId="LiveId" clId="{B80CE663-061C-0E44-A4A7-E59CEA039E16}" dt="2022-05-10T13:02:01.651" v="3498" actId="20577"/>
          <ac:spMkLst>
            <pc:docMk/>
            <pc:sldMk cId="1497184102" sldId="2147469846"/>
            <ac:spMk id="4" creationId="{1DF0AA61-61DA-3170-0CE7-E01E1D383DB5}"/>
          </ac:spMkLst>
        </pc:spChg>
      </pc:sldChg>
      <pc:sldChg chg="addSp delSp modSp new mod">
        <pc:chgData name="Johan Ludvig Brattås" userId="3c382553f8c1b01a" providerId="LiveId" clId="{B80CE663-061C-0E44-A4A7-E59CEA039E16}" dt="2022-05-10T12:57:06.285" v="3227" actId="732"/>
        <pc:sldMkLst>
          <pc:docMk/>
          <pc:sldMk cId="1902043372" sldId="2147469847"/>
        </pc:sldMkLst>
        <pc:spChg chg="del mod">
          <ac:chgData name="Johan Ludvig Brattås" userId="3c382553f8c1b01a" providerId="LiveId" clId="{B80CE663-061C-0E44-A4A7-E59CEA039E16}" dt="2022-05-10T12:56:35.147" v="3224" actId="478"/>
          <ac:spMkLst>
            <pc:docMk/>
            <pc:sldMk cId="1902043372" sldId="2147469847"/>
            <ac:spMk id="2" creationId="{401A40C3-EE20-1C23-703F-856CD559A05A}"/>
          </ac:spMkLst>
        </pc:spChg>
        <pc:spChg chg="mod">
          <ac:chgData name="Johan Ludvig Brattås" userId="3c382553f8c1b01a" providerId="LiveId" clId="{B80CE663-061C-0E44-A4A7-E59CEA039E16}" dt="2022-05-10T12:56:46.036" v="3225"/>
          <ac:spMkLst>
            <pc:docMk/>
            <pc:sldMk cId="1902043372" sldId="2147469847"/>
            <ac:spMk id="3" creationId="{55B394C5-64D7-BB8E-EEB9-0AD27495BB82}"/>
          </ac:spMkLst>
        </pc:spChg>
        <pc:picChg chg="add mod">
          <ac:chgData name="Johan Ludvig Brattås" userId="3c382553f8c1b01a" providerId="LiveId" clId="{B80CE663-061C-0E44-A4A7-E59CEA039E16}" dt="2022-05-10T12:57:06.285" v="3227" actId="732"/>
          <ac:picMkLst>
            <pc:docMk/>
            <pc:sldMk cId="1902043372" sldId="2147469847"/>
            <ac:picMk id="17410" creationId="{9536C995-0571-BD36-87AD-769732BBC22C}"/>
          </ac:picMkLst>
        </pc:picChg>
      </pc:sldChg>
      <pc:sldChg chg="modSp new mod modAnim">
        <pc:chgData name="Johan Ludvig Brattås" userId="3c382553f8c1b01a" providerId="LiveId" clId="{B80CE663-061C-0E44-A4A7-E59CEA039E16}" dt="2022-05-10T13:12:51.084" v="4062"/>
        <pc:sldMkLst>
          <pc:docMk/>
          <pc:sldMk cId="2519492659" sldId="2147469848"/>
        </pc:sldMkLst>
        <pc:spChg chg="mod">
          <ac:chgData name="Johan Ludvig Brattås" userId="3c382553f8c1b01a" providerId="LiveId" clId="{B80CE663-061C-0E44-A4A7-E59CEA039E16}" dt="2022-05-10T13:12:18.317" v="4055" actId="20577"/>
          <ac:spMkLst>
            <pc:docMk/>
            <pc:sldMk cId="2519492659" sldId="2147469848"/>
            <ac:spMk id="2" creationId="{D092045C-6F56-054C-B578-AE7CF497104D}"/>
          </ac:spMkLst>
        </pc:spChg>
        <pc:spChg chg="mod">
          <ac:chgData name="Johan Ludvig Brattås" userId="3c382553f8c1b01a" providerId="LiveId" clId="{B80CE663-061C-0E44-A4A7-E59CEA039E16}" dt="2022-05-10T13:02:22.175" v="3500"/>
          <ac:spMkLst>
            <pc:docMk/>
            <pc:sldMk cId="2519492659" sldId="2147469848"/>
            <ac:spMk id="3" creationId="{6A56BB9F-F1FE-75F1-D535-7F18F2B85C14}"/>
          </ac:spMkLst>
        </pc:spChg>
      </pc:sldChg>
      <pc:sldChg chg="modSp new mod">
        <pc:chgData name="Johan Ludvig Brattås" userId="3c382553f8c1b01a" providerId="LiveId" clId="{B80CE663-061C-0E44-A4A7-E59CEA039E16}" dt="2022-05-10T13:06:41.430" v="4000" actId="20577"/>
        <pc:sldMkLst>
          <pc:docMk/>
          <pc:sldMk cId="552661491" sldId="2147469849"/>
        </pc:sldMkLst>
        <pc:spChg chg="mod">
          <ac:chgData name="Johan Ludvig Brattås" userId="3c382553f8c1b01a" providerId="LiveId" clId="{B80CE663-061C-0E44-A4A7-E59CEA039E16}" dt="2022-05-10T13:06:41.430" v="4000" actId="20577"/>
          <ac:spMkLst>
            <pc:docMk/>
            <pc:sldMk cId="552661491" sldId="2147469849"/>
            <ac:spMk id="2" creationId="{12912158-21BF-2F52-86DF-82BB6B4072EF}"/>
          </ac:spMkLst>
        </pc:spChg>
        <pc:spChg chg="mod">
          <ac:chgData name="Johan Ludvig Brattås" userId="3c382553f8c1b01a" providerId="LiveId" clId="{B80CE663-061C-0E44-A4A7-E59CEA039E16}" dt="2022-05-10T13:06:36.969" v="3990" actId="20577"/>
          <ac:spMkLst>
            <pc:docMk/>
            <pc:sldMk cId="552661491" sldId="2147469849"/>
            <ac:spMk id="3" creationId="{9403BF7E-6E9F-BFEF-A7C4-46C510998260}"/>
          </ac:spMkLst>
        </pc:spChg>
      </pc:sldChg>
      <pc:sldChg chg="add ord">
        <pc:chgData name="Johan Ludvig Brattås" userId="3c382553f8c1b01a" providerId="LiveId" clId="{B80CE663-061C-0E44-A4A7-E59CEA039E16}" dt="2022-05-10T13:07:14.486" v="4002" actId="20578"/>
        <pc:sldMkLst>
          <pc:docMk/>
          <pc:sldMk cId="511576348" sldId="2147469850"/>
        </pc:sldMkLst>
      </pc:sldChg>
      <pc:sldChg chg="add ord">
        <pc:chgData name="Johan Ludvig Brattås" userId="3c382553f8c1b01a" providerId="LiveId" clId="{B80CE663-061C-0E44-A4A7-E59CEA039E16}" dt="2022-05-10T13:07:41.839" v="4004" actId="20578"/>
        <pc:sldMkLst>
          <pc:docMk/>
          <pc:sldMk cId="1487420651" sldId="2147469851"/>
        </pc:sldMkLst>
      </pc:sldChg>
      <pc:sldChg chg="modSp add mod">
        <pc:chgData name="Johan Ludvig Brattås" userId="3c382553f8c1b01a" providerId="LiveId" clId="{B80CE663-061C-0E44-A4A7-E59CEA039E16}" dt="2022-05-18T17:40:33.737" v="4157" actId="21"/>
        <pc:sldMkLst>
          <pc:docMk/>
          <pc:sldMk cId="1817223545" sldId="2147469852"/>
        </pc:sldMkLst>
        <pc:spChg chg="mod">
          <ac:chgData name="Johan Ludvig Brattås" userId="3c382553f8c1b01a" providerId="LiveId" clId="{B80CE663-061C-0E44-A4A7-E59CEA039E16}" dt="2022-05-18T17:40:33.737" v="4157" actId="21"/>
          <ac:spMkLst>
            <pc:docMk/>
            <pc:sldMk cId="1817223545" sldId="2147469852"/>
            <ac:spMk id="2" creationId="{12912158-21BF-2F52-86DF-82BB6B4072EF}"/>
          </ac:spMkLst>
        </pc:spChg>
        <pc:spChg chg="mod">
          <ac:chgData name="Johan Ludvig Brattås" userId="3c382553f8c1b01a" providerId="LiveId" clId="{B80CE663-061C-0E44-A4A7-E59CEA039E16}" dt="2022-05-18T17:26:39.769" v="4137" actId="20577"/>
          <ac:spMkLst>
            <pc:docMk/>
            <pc:sldMk cId="1817223545" sldId="2147469852"/>
            <ac:spMk id="3" creationId="{9403BF7E-6E9F-BFEF-A7C4-46C510998260}"/>
          </ac:spMkLst>
        </pc:spChg>
      </pc:sldChg>
      <pc:sldChg chg="new del">
        <pc:chgData name="Johan Ludvig Brattås" userId="3c382553f8c1b01a" providerId="LiveId" clId="{B80CE663-061C-0E44-A4A7-E59CEA039E16}" dt="2022-05-18T17:26:21.974" v="4130" actId="2696"/>
        <pc:sldMkLst>
          <pc:docMk/>
          <pc:sldMk cId="3662582516" sldId="2147469852"/>
        </pc:sldMkLst>
      </pc:sldChg>
      <pc:sldMasterChg chg="delSldLayout">
        <pc:chgData name="Johan Ludvig Brattås" userId="3c382553f8c1b01a" providerId="LiveId" clId="{B80CE663-061C-0E44-A4A7-E59CEA039E16}" dt="2022-05-18T17:44:01.282" v="4167" actId="2696"/>
        <pc:sldMasterMkLst>
          <pc:docMk/>
          <pc:sldMasterMk cId="3148905397" sldId="2147483899"/>
        </pc:sldMasterMkLst>
        <pc:sldLayoutChg chg="del">
          <pc:chgData name="Johan Ludvig Brattås" userId="3c382553f8c1b01a" providerId="LiveId" clId="{B80CE663-061C-0E44-A4A7-E59CEA039E16}" dt="2022-05-10T13:06:05.612" v="3982" actId="2696"/>
          <pc:sldLayoutMkLst>
            <pc:docMk/>
            <pc:sldMasterMk cId="3148905397" sldId="2147483899"/>
            <pc:sldLayoutMk cId="3384314072" sldId="2147483933"/>
          </pc:sldLayoutMkLst>
        </pc:sldLayoutChg>
        <pc:sldLayoutChg chg="del">
          <pc:chgData name="Johan Ludvig Brattås" userId="3c382553f8c1b01a" providerId="LiveId" clId="{B80CE663-061C-0E44-A4A7-E59CEA039E16}" dt="2022-05-10T13:06:05.612" v="3982" actId="2696"/>
          <pc:sldLayoutMkLst>
            <pc:docMk/>
            <pc:sldMasterMk cId="3148905397" sldId="2147483899"/>
            <pc:sldLayoutMk cId="639219959" sldId="2147483934"/>
          </pc:sldLayoutMkLst>
        </pc:sldLayoutChg>
        <pc:sldLayoutChg chg="del">
          <pc:chgData name="Johan Ludvig Brattås" userId="3c382553f8c1b01a" providerId="LiveId" clId="{B80CE663-061C-0E44-A4A7-E59CEA039E16}" dt="2022-05-10T13:05:59.824" v="3981" actId="2696"/>
          <pc:sldLayoutMkLst>
            <pc:docMk/>
            <pc:sldMasterMk cId="3148905397" sldId="2147483899"/>
            <pc:sldLayoutMk cId="2948220904" sldId="2147483951"/>
          </pc:sldLayoutMkLst>
        </pc:sldLayoutChg>
        <pc:sldLayoutChg chg="del">
          <pc:chgData name="Johan Ludvig Brattås" userId="3c382553f8c1b01a" providerId="LiveId" clId="{B80CE663-061C-0E44-A4A7-E59CEA039E16}" dt="2022-05-10T11:08:11.916" v="1567" actId="2696"/>
          <pc:sldLayoutMkLst>
            <pc:docMk/>
            <pc:sldMasterMk cId="3148905397" sldId="2147483899"/>
            <pc:sldLayoutMk cId="3176761236" sldId="2147483963"/>
          </pc:sldLayoutMkLst>
        </pc:sldLayoutChg>
        <pc:sldLayoutChg chg="del">
          <pc:chgData name="Johan Ludvig Brattås" userId="3c382553f8c1b01a" providerId="LiveId" clId="{B80CE663-061C-0E44-A4A7-E59CEA039E16}" dt="2022-05-18T17:44:01.282" v="4167" actId="2696"/>
          <pc:sldLayoutMkLst>
            <pc:docMk/>
            <pc:sldMasterMk cId="3148905397" sldId="2147483899"/>
            <pc:sldLayoutMk cId="4293797172" sldId="2147483963"/>
          </pc:sldLayoutMkLst>
        </pc:sldLayoutChg>
      </pc:sldMasterChg>
    </pc:docChg>
  </pc:docChgLst>
  <pc:docChgLst>
    <pc:chgData name="Johan Ludvig Brattås" userId="3c382553f8c1b01a" providerId="LiveId" clId="{3D11D77D-CA94-42EA-ACB9-C1268C9CA345}"/>
    <pc:docChg chg="undo custSel addSld delSld modSld">
      <pc:chgData name="Johan Ludvig Brattås" userId="3c382553f8c1b01a" providerId="LiveId" clId="{3D11D77D-CA94-42EA-ACB9-C1268C9CA345}" dt="2022-03-09T11:11:14.137" v="2137" actId="20577"/>
      <pc:docMkLst>
        <pc:docMk/>
      </pc:docMkLst>
      <pc:sldChg chg="del">
        <pc:chgData name="Johan Ludvig Brattås" userId="3c382553f8c1b01a" providerId="LiveId" clId="{3D11D77D-CA94-42EA-ACB9-C1268C9CA345}" dt="2022-03-07T21:21:39.518" v="0" actId="47"/>
        <pc:sldMkLst>
          <pc:docMk/>
          <pc:sldMk cId="2855990985" sldId="276"/>
        </pc:sldMkLst>
      </pc:sldChg>
      <pc:sldChg chg="modSp mod">
        <pc:chgData name="Johan Ludvig Brattås" userId="3c382553f8c1b01a" providerId="LiveId" clId="{3D11D77D-CA94-42EA-ACB9-C1268C9CA345}" dt="2022-03-08T21:05:57.365" v="544" actId="20577"/>
        <pc:sldMkLst>
          <pc:docMk/>
          <pc:sldMk cId="4223175608" sldId="1008"/>
        </pc:sldMkLst>
        <pc:spChg chg="mod">
          <ac:chgData name="Johan Ludvig Brattås" userId="3c382553f8c1b01a" providerId="LiveId" clId="{3D11D77D-CA94-42EA-ACB9-C1268C9CA345}" dt="2022-03-07T21:22:12.258" v="26" actId="20577"/>
          <ac:spMkLst>
            <pc:docMk/>
            <pc:sldMk cId="4223175608" sldId="1008"/>
            <ac:spMk id="4" creationId="{8BB89BED-2FA4-4A72-B91D-CED542B6BB0C}"/>
          </ac:spMkLst>
        </pc:spChg>
        <pc:spChg chg="mod">
          <ac:chgData name="Johan Ludvig Brattås" userId="3c382553f8c1b01a" providerId="LiveId" clId="{3D11D77D-CA94-42EA-ACB9-C1268C9CA345}" dt="2022-03-08T21:05:57.365" v="544" actId="20577"/>
          <ac:spMkLst>
            <pc:docMk/>
            <pc:sldMk cId="4223175608" sldId="1008"/>
            <ac:spMk id="5" creationId="{F3C66C73-6C2C-4EB1-9316-DFAB45100393}"/>
          </ac:spMkLst>
        </pc:spChg>
      </pc:sldChg>
      <pc:sldChg chg="del">
        <pc:chgData name="Johan Ludvig Brattås" userId="3c382553f8c1b01a" providerId="LiveId" clId="{3D11D77D-CA94-42EA-ACB9-C1268C9CA345}" dt="2022-03-07T21:21:41.768" v="1" actId="47"/>
        <pc:sldMkLst>
          <pc:docMk/>
          <pc:sldMk cId="3867533695" sldId="1042"/>
        </pc:sldMkLst>
      </pc:sldChg>
      <pc:sldChg chg="del">
        <pc:chgData name="Johan Ludvig Brattås" userId="3c382553f8c1b01a" providerId="LiveId" clId="{3D11D77D-CA94-42EA-ACB9-C1268C9CA345}" dt="2022-03-07T21:21:50.759" v="2" actId="47"/>
        <pc:sldMkLst>
          <pc:docMk/>
          <pc:sldMk cId="1597555992" sldId="1045"/>
        </pc:sldMkLst>
      </pc:sldChg>
      <pc:sldChg chg="delSp modSp mod">
        <pc:chgData name="Johan Ludvig Brattås" userId="3c382553f8c1b01a" providerId="LiveId" clId="{3D11D77D-CA94-42EA-ACB9-C1268C9CA345}" dt="2022-03-09T10:52:25.748" v="1816" actId="478"/>
        <pc:sldMkLst>
          <pc:docMk/>
          <pc:sldMk cId="1170595147" sldId="1046"/>
        </pc:sldMkLst>
        <pc:spChg chg="del mod">
          <ac:chgData name="Johan Ludvig Brattås" userId="3c382553f8c1b01a" providerId="LiveId" clId="{3D11D77D-CA94-42EA-ACB9-C1268C9CA345}" dt="2022-03-09T10:52:25.748" v="1816" actId="478"/>
          <ac:spMkLst>
            <pc:docMk/>
            <pc:sldMk cId="1170595147" sldId="1046"/>
            <ac:spMk id="7" creationId="{EE4498CF-5315-4C96-A765-67CDCF1E984F}"/>
          </ac:spMkLst>
        </pc:spChg>
        <pc:spChg chg="mod">
          <ac:chgData name="Johan Ludvig Brattås" userId="3c382553f8c1b01a" providerId="LiveId" clId="{3D11D77D-CA94-42EA-ACB9-C1268C9CA345}" dt="2022-03-09T10:51:56.969" v="1767" actId="20577"/>
          <ac:spMkLst>
            <pc:docMk/>
            <pc:sldMk cId="1170595147" sldId="1046"/>
            <ac:spMk id="8" creationId="{41A2EA20-9ECC-49E3-9F6F-A1C8AFEF2D29}"/>
          </ac:spMkLst>
        </pc:spChg>
      </pc:sldChg>
      <pc:sldChg chg="modSp mod">
        <pc:chgData name="Johan Ludvig Brattås" userId="3c382553f8c1b01a" providerId="LiveId" clId="{3D11D77D-CA94-42EA-ACB9-C1268C9CA345}" dt="2022-03-09T11:11:14.137" v="2137" actId="20577"/>
        <pc:sldMkLst>
          <pc:docMk/>
          <pc:sldMk cId="2663886759" sldId="1049"/>
        </pc:sldMkLst>
        <pc:spChg chg="mod">
          <ac:chgData name="Johan Ludvig Brattås" userId="3c382553f8c1b01a" providerId="LiveId" clId="{3D11D77D-CA94-42EA-ACB9-C1268C9CA345}" dt="2022-03-09T11:11:14.137" v="2137" actId="20577"/>
          <ac:spMkLst>
            <pc:docMk/>
            <pc:sldMk cId="2663886759" sldId="1049"/>
            <ac:spMk id="2" creationId="{CB2C0F85-30AF-4A7B-938C-24C2F464A399}"/>
          </ac:spMkLst>
        </pc:spChg>
        <pc:spChg chg="mod">
          <ac:chgData name="Johan Ludvig Brattås" userId="3c382553f8c1b01a" providerId="LiveId" clId="{3D11D77D-CA94-42EA-ACB9-C1268C9CA345}" dt="2022-03-09T11:09:04.604" v="2077" actId="20577"/>
          <ac:spMkLst>
            <pc:docMk/>
            <pc:sldMk cId="2663886759" sldId="1049"/>
            <ac:spMk id="3" creationId="{B490EBA8-8698-49C6-91C6-93EB77884919}"/>
          </ac:spMkLst>
        </pc:spChg>
      </pc:sldChg>
      <pc:sldChg chg="addSp delSp modSp add mod modAnim">
        <pc:chgData name="Johan Ludvig Brattås" userId="3c382553f8c1b01a" providerId="LiveId" clId="{3D11D77D-CA94-42EA-ACB9-C1268C9CA345}" dt="2022-03-09T10:11:22.699" v="1613" actId="20577"/>
        <pc:sldMkLst>
          <pc:docMk/>
          <pc:sldMk cId="2829340559" sldId="1051"/>
        </pc:sldMkLst>
        <pc:spChg chg="add mod">
          <ac:chgData name="Johan Ludvig Brattås" userId="3c382553f8c1b01a" providerId="LiveId" clId="{3D11D77D-CA94-42EA-ACB9-C1268C9CA345}" dt="2022-03-09T10:11:22.699" v="1613" actId="20577"/>
          <ac:spMkLst>
            <pc:docMk/>
            <pc:sldMk cId="2829340559" sldId="1051"/>
            <ac:spMk id="2" creationId="{6F1B2532-6B0C-4A1B-96B9-D9D66FFF76D5}"/>
          </ac:spMkLst>
        </pc:spChg>
        <pc:spChg chg="mod">
          <ac:chgData name="Johan Ludvig Brattås" userId="3c382553f8c1b01a" providerId="LiveId" clId="{3D11D77D-CA94-42EA-ACB9-C1268C9CA345}" dt="2022-03-08T18:41:28.395" v="219" actId="20577"/>
          <ac:spMkLst>
            <pc:docMk/>
            <pc:sldMk cId="2829340559" sldId="1051"/>
            <ac:spMk id="4" creationId="{8BB89BED-2FA4-4A72-B91D-CED542B6BB0C}"/>
          </ac:spMkLst>
        </pc:spChg>
        <pc:spChg chg="del mod">
          <ac:chgData name="Johan Ludvig Brattås" userId="3c382553f8c1b01a" providerId="LiveId" clId="{3D11D77D-CA94-42EA-ACB9-C1268C9CA345}" dt="2022-03-07T21:23:59.889" v="133"/>
          <ac:spMkLst>
            <pc:docMk/>
            <pc:sldMk cId="2829340559" sldId="1051"/>
            <ac:spMk id="5" creationId="{F3C66C73-6C2C-4EB1-9316-DFAB45100393}"/>
          </ac:spMkLst>
        </pc:spChg>
      </pc:sldChg>
      <pc:sldChg chg="addSp delSp modSp new del mod">
        <pc:chgData name="Johan Ludvig Brattås" userId="3c382553f8c1b01a" providerId="LiveId" clId="{3D11D77D-CA94-42EA-ACB9-C1268C9CA345}" dt="2022-03-07T21:26:27.308" v="157" actId="2696"/>
        <pc:sldMkLst>
          <pc:docMk/>
          <pc:sldMk cId="1850732361" sldId="1052"/>
        </pc:sldMkLst>
        <pc:spChg chg="del">
          <ac:chgData name="Johan Ludvig Brattås" userId="3c382553f8c1b01a" providerId="LiveId" clId="{3D11D77D-CA94-42EA-ACB9-C1268C9CA345}" dt="2022-03-07T21:24:47.442" v="138" actId="931"/>
          <ac:spMkLst>
            <pc:docMk/>
            <pc:sldMk cId="1850732361" sldId="1052"/>
            <ac:spMk id="2" creationId="{02B9FBEF-D1BD-4571-9F00-270358D53A01}"/>
          </ac:spMkLst>
        </pc:spChg>
        <pc:spChg chg="add del">
          <ac:chgData name="Johan Ludvig Brattås" userId="3c382553f8c1b01a" providerId="LiveId" clId="{3D11D77D-CA94-42EA-ACB9-C1268C9CA345}" dt="2022-03-07T21:25:25.723" v="151" actId="478"/>
          <ac:spMkLst>
            <pc:docMk/>
            <pc:sldMk cId="1850732361" sldId="1052"/>
            <ac:spMk id="3" creationId="{66E896FC-D97F-46C8-8242-FFF2316BDC90}"/>
          </ac:spMkLst>
        </pc:spChg>
        <pc:spChg chg="del">
          <ac:chgData name="Johan Ludvig Brattås" userId="3c382553f8c1b01a" providerId="LiveId" clId="{3D11D77D-CA94-42EA-ACB9-C1268C9CA345}" dt="2022-03-07T21:24:11.141" v="135"/>
          <ac:spMkLst>
            <pc:docMk/>
            <pc:sldMk cId="1850732361" sldId="1052"/>
            <ac:spMk id="4" creationId="{205457CA-61D5-4962-A69B-C5F136E97EFD}"/>
          </ac:spMkLst>
        </pc:spChg>
        <pc:spChg chg="add del mod">
          <ac:chgData name="Johan Ludvig Brattås" userId="3c382553f8c1b01a" providerId="LiveId" clId="{3D11D77D-CA94-42EA-ACB9-C1268C9CA345}" dt="2022-03-07T21:25:04.024" v="143" actId="478"/>
          <ac:spMkLst>
            <pc:docMk/>
            <pc:sldMk cId="1850732361" sldId="1052"/>
            <ac:spMk id="5" creationId="{22C923A4-5CED-4551-9DFC-1C39ED6F5E23}"/>
          </ac:spMkLst>
        </pc:spChg>
        <pc:spChg chg="add del">
          <ac:chgData name="Johan Ludvig Brattås" userId="3c382553f8c1b01a" providerId="LiveId" clId="{3D11D77D-CA94-42EA-ACB9-C1268C9CA345}" dt="2022-03-07T21:24:15.397" v="137" actId="478"/>
          <ac:spMkLst>
            <pc:docMk/>
            <pc:sldMk cId="1850732361" sldId="1052"/>
            <ac:spMk id="6" creationId="{C005F740-544E-4BD5-9B13-D27715777260}"/>
          </ac:spMkLst>
        </pc:spChg>
        <pc:picChg chg="add mod modCrop">
          <ac:chgData name="Johan Ludvig Brattås" userId="3c382553f8c1b01a" providerId="LiveId" clId="{3D11D77D-CA94-42EA-ACB9-C1268C9CA345}" dt="2022-03-07T21:26:00.512" v="156" actId="732"/>
          <ac:picMkLst>
            <pc:docMk/>
            <pc:sldMk cId="1850732361" sldId="1052"/>
            <ac:picMk id="8" creationId="{D63ED9AC-CF0D-4E53-9B14-1586F093BB42}"/>
          </ac:picMkLst>
        </pc:picChg>
      </pc:sldChg>
      <pc:sldChg chg="addSp delSp modSp new mod modClrScheme chgLayout">
        <pc:chgData name="Johan Ludvig Brattås" userId="3c382553f8c1b01a" providerId="LiveId" clId="{3D11D77D-CA94-42EA-ACB9-C1268C9CA345}" dt="2022-03-08T21:06:10.990" v="554" actId="20577"/>
        <pc:sldMkLst>
          <pc:docMk/>
          <pc:sldMk cId="3897347658" sldId="1052"/>
        </pc:sldMkLst>
        <pc:spChg chg="del">
          <ac:chgData name="Johan Ludvig Brattås" userId="3c382553f8c1b01a" providerId="LiveId" clId="{3D11D77D-CA94-42EA-ACB9-C1268C9CA345}" dt="2022-03-07T21:26:36.060" v="159" actId="700"/>
          <ac:spMkLst>
            <pc:docMk/>
            <pc:sldMk cId="3897347658" sldId="1052"/>
            <ac:spMk id="2" creationId="{3E0E65AC-35F5-4C41-984E-C6019220EECD}"/>
          </ac:spMkLst>
        </pc:spChg>
        <pc:spChg chg="del mod ord">
          <ac:chgData name="Johan Ludvig Brattås" userId="3c382553f8c1b01a" providerId="LiveId" clId="{3D11D77D-CA94-42EA-ACB9-C1268C9CA345}" dt="2022-03-07T21:26:36.060" v="159" actId="700"/>
          <ac:spMkLst>
            <pc:docMk/>
            <pc:sldMk cId="3897347658" sldId="1052"/>
            <ac:spMk id="3" creationId="{14C40C5C-6779-47F9-B13B-B6C48605B4F6}"/>
          </ac:spMkLst>
        </pc:spChg>
        <pc:spChg chg="del mod ord">
          <ac:chgData name="Johan Ludvig Brattås" userId="3c382553f8c1b01a" providerId="LiveId" clId="{3D11D77D-CA94-42EA-ACB9-C1268C9CA345}" dt="2022-03-07T21:26:36.060" v="159" actId="700"/>
          <ac:spMkLst>
            <pc:docMk/>
            <pc:sldMk cId="3897347658" sldId="1052"/>
            <ac:spMk id="4" creationId="{022394B4-636F-4BF8-AC01-07040CFBFB00}"/>
          </ac:spMkLst>
        </pc:spChg>
        <pc:spChg chg="add mod ord">
          <ac:chgData name="Johan Ludvig Brattås" userId="3c382553f8c1b01a" providerId="LiveId" clId="{3D11D77D-CA94-42EA-ACB9-C1268C9CA345}" dt="2022-03-08T21:06:10.990" v="554" actId="20577"/>
          <ac:spMkLst>
            <pc:docMk/>
            <pc:sldMk cId="3897347658" sldId="1052"/>
            <ac:spMk id="5" creationId="{81EDBC27-1FA2-439F-BF40-1D9ADCEF711F}"/>
          </ac:spMkLst>
        </pc:spChg>
        <pc:spChg chg="add del mod ord">
          <ac:chgData name="Johan Ludvig Brattås" userId="3c382553f8c1b01a" providerId="LiveId" clId="{3D11D77D-CA94-42EA-ACB9-C1268C9CA345}" dt="2022-03-08T18:41:07.991" v="200" actId="478"/>
          <ac:spMkLst>
            <pc:docMk/>
            <pc:sldMk cId="3897347658" sldId="1052"/>
            <ac:spMk id="6" creationId="{064A2D49-5F0C-495B-A828-D48148F041DB}"/>
          </ac:spMkLst>
        </pc:spChg>
        <pc:picChg chg="add mod">
          <ac:chgData name="Johan Ludvig Brattås" userId="3c382553f8c1b01a" providerId="LiveId" clId="{3D11D77D-CA94-42EA-ACB9-C1268C9CA345}" dt="2022-03-08T18:41:14.738" v="201" actId="1076"/>
          <ac:picMkLst>
            <pc:docMk/>
            <pc:sldMk cId="3897347658" sldId="1052"/>
            <ac:picMk id="8" creationId="{9890E599-867B-4D4E-A232-9E6A0DC6C727}"/>
          </ac:picMkLst>
        </pc:picChg>
      </pc:sldChg>
      <pc:sldChg chg="addSp delSp modSp add mod modAnim">
        <pc:chgData name="Johan Ludvig Brattås" userId="3c382553f8c1b01a" providerId="LiveId" clId="{3D11D77D-CA94-42EA-ACB9-C1268C9CA345}" dt="2022-03-08T21:17:58.213" v="658"/>
        <pc:sldMkLst>
          <pc:docMk/>
          <pc:sldMk cId="88762365" sldId="1053"/>
        </pc:sldMkLst>
        <pc:spChg chg="add mod">
          <ac:chgData name="Johan Ludvig Brattås" userId="3c382553f8c1b01a" providerId="LiveId" clId="{3D11D77D-CA94-42EA-ACB9-C1268C9CA345}" dt="2022-03-08T21:17:18.161" v="652" actId="1076"/>
          <ac:spMkLst>
            <pc:docMk/>
            <pc:sldMk cId="88762365" sldId="1053"/>
            <ac:spMk id="4" creationId="{E24E9164-CF07-43D6-999E-4A8DFDA56537}"/>
          </ac:spMkLst>
        </pc:spChg>
        <pc:spChg chg="mod">
          <ac:chgData name="Johan Ludvig Brattås" userId="3c382553f8c1b01a" providerId="LiveId" clId="{3D11D77D-CA94-42EA-ACB9-C1268C9CA345}" dt="2022-03-08T21:06:43.929" v="563" actId="20577"/>
          <ac:spMkLst>
            <pc:docMk/>
            <pc:sldMk cId="88762365" sldId="1053"/>
            <ac:spMk id="5" creationId="{81EDBC27-1FA2-439F-BF40-1D9ADCEF711F}"/>
          </ac:spMkLst>
        </pc:spChg>
        <pc:picChg chg="add mod">
          <ac:chgData name="Johan Ludvig Brattås" userId="3c382553f8c1b01a" providerId="LiveId" clId="{3D11D77D-CA94-42EA-ACB9-C1268C9CA345}" dt="2022-03-08T21:17:31.557" v="655" actId="14100"/>
          <ac:picMkLst>
            <pc:docMk/>
            <pc:sldMk cId="88762365" sldId="1053"/>
            <ac:picMk id="3" creationId="{EC0BCD35-BA92-4E1B-A1FD-C8B997525B26}"/>
          </ac:picMkLst>
        </pc:picChg>
        <pc:picChg chg="del">
          <ac:chgData name="Johan Ludvig Brattås" userId="3c382553f8c1b01a" providerId="LiveId" clId="{3D11D77D-CA94-42EA-ACB9-C1268C9CA345}" dt="2022-03-08T21:06:33.656" v="556" actId="478"/>
          <ac:picMkLst>
            <pc:docMk/>
            <pc:sldMk cId="88762365" sldId="1053"/>
            <ac:picMk id="8" creationId="{9890E599-867B-4D4E-A232-9E6A0DC6C727}"/>
          </ac:picMkLst>
        </pc:picChg>
      </pc:sldChg>
      <pc:sldChg chg="addSp delSp modSp add mod delAnim modAnim">
        <pc:chgData name="Johan Ludvig Brattås" userId="3c382553f8c1b01a" providerId="LiveId" clId="{3D11D77D-CA94-42EA-ACB9-C1268C9CA345}" dt="2022-03-08T21:46:22.827" v="883"/>
        <pc:sldMkLst>
          <pc:docMk/>
          <pc:sldMk cId="2885796768" sldId="1054"/>
        </pc:sldMkLst>
        <pc:spChg chg="mod">
          <ac:chgData name="Johan Ludvig Brattås" userId="3c382553f8c1b01a" providerId="LiveId" clId="{3D11D77D-CA94-42EA-ACB9-C1268C9CA345}" dt="2022-03-08T21:45:38.556" v="876" actId="27636"/>
          <ac:spMkLst>
            <pc:docMk/>
            <pc:sldMk cId="2885796768" sldId="1054"/>
            <ac:spMk id="4" creationId="{E24E9164-CF07-43D6-999E-4A8DFDA56537}"/>
          </ac:spMkLst>
        </pc:spChg>
        <pc:picChg chg="del">
          <ac:chgData name="Johan Ludvig Brattås" userId="3c382553f8c1b01a" providerId="LiveId" clId="{3D11D77D-CA94-42EA-ACB9-C1268C9CA345}" dt="2022-03-08T21:19:56.422" v="660" actId="478"/>
          <ac:picMkLst>
            <pc:docMk/>
            <pc:sldMk cId="2885796768" sldId="1054"/>
            <ac:picMk id="3" creationId="{EC0BCD35-BA92-4E1B-A1FD-C8B997525B26}"/>
          </ac:picMkLst>
        </pc:picChg>
        <pc:picChg chg="add del mod">
          <ac:chgData name="Johan Ludvig Brattås" userId="3c382553f8c1b01a" providerId="LiveId" clId="{3D11D77D-CA94-42EA-ACB9-C1268C9CA345}" dt="2022-03-08T21:43:41.459" v="749"/>
          <ac:picMkLst>
            <pc:docMk/>
            <pc:sldMk cId="2885796768" sldId="1054"/>
            <ac:picMk id="6" creationId="{52D9DA08-7DB3-47E5-9606-0D1AB087187F}"/>
          </ac:picMkLst>
        </pc:picChg>
      </pc:sldChg>
      <pc:sldChg chg="addSp delSp modSp add mod delAnim">
        <pc:chgData name="Johan Ludvig Brattås" userId="3c382553f8c1b01a" providerId="LiveId" clId="{3D11D77D-CA94-42EA-ACB9-C1268C9CA345}" dt="2022-03-09T10:35:09.882" v="1734" actId="22"/>
        <pc:sldMkLst>
          <pc:docMk/>
          <pc:sldMk cId="559374000" sldId="1055"/>
        </pc:sldMkLst>
        <pc:spChg chg="del">
          <ac:chgData name="Johan Ludvig Brattås" userId="3c382553f8c1b01a" providerId="LiveId" clId="{3D11D77D-CA94-42EA-ACB9-C1268C9CA345}" dt="2022-03-08T21:47:10.198" v="885" actId="478"/>
          <ac:spMkLst>
            <pc:docMk/>
            <pc:sldMk cId="559374000" sldId="1055"/>
            <ac:spMk id="4" creationId="{E24E9164-CF07-43D6-999E-4A8DFDA56537}"/>
          </ac:spMkLst>
        </pc:spChg>
        <pc:spChg chg="add del">
          <ac:chgData name="Johan Ludvig Brattås" userId="3c382553f8c1b01a" providerId="LiveId" clId="{3D11D77D-CA94-42EA-ACB9-C1268C9CA345}" dt="2022-03-09T10:35:09.882" v="1734" actId="22"/>
          <ac:spMkLst>
            <pc:docMk/>
            <pc:sldMk cId="559374000" sldId="1055"/>
            <ac:spMk id="6" creationId="{95A08FE5-4AAF-4F5E-8675-C2FDE32960E5}"/>
          </ac:spMkLst>
        </pc:spChg>
        <pc:picChg chg="add mod">
          <ac:chgData name="Johan Ludvig Brattås" userId="3c382553f8c1b01a" providerId="LiveId" clId="{3D11D77D-CA94-42EA-ACB9-C1268C9CA345}" dt="2022-03-08T21:47:20.906" v="891" actId="1076"/>
          <ac:picMkLst>
            <pc:docMk/>
            <pc:sldMk cId="559374000" sldId="1055"/>
            <ac:picMk id="3" creationId="{05CB6F44-97D3-4C25-A8F4-5DFFCFD0F40F}"/>
          </ac:picMkLst>
        </pc:picChg>
      </pc:sldChg>
      <pc:sldChg chg="addSp delSp modSp add mod modClrScheme chgLayout">
        <pc:chgData name="Johan Ludvig Brattås" userId="3c382553f8c1b01a" providerId="LiveId" clId="{3D11D77D-CA94-42EA-ACB9-C1268C9CA345}" dt="2022-03-08T22:00:35.509" v="939" actId="20577"/>
        <pc:sldMkLst>
          <pc:docMk/>
          <pc:sldMk cId="2327000704" sldId="1056"/>
        </pc:sldMkLst>
        <pc:spChg chg="add del mod ord">
          <ac:chgData name="Johan Ludvig Brattås" userId="3c382553f8c1b01a" providerId="LiveId" clId="{3D11D77D-CA94-42EA-ACB9-C1268C9CA345}" dt="2022-03-08T21:59:38.361" v="895" actId="700"/>
          <ac:spMkLst>
            <pc:docMk/>
            <pc:sldMk cId="2327000704" sldId="1056"/>
            <ac:spMk id="2" creationId="{D9CDAD3B-4929-414F-A256-A0FE2B555020}"/>
          </ac:spMkLst>
        </pc:spChg>
        <pc:spChg chg="add del mod ord">
          <ac:chgData name="Johan Ludvig Brattås" userId="3c382553f8c1b01a" providerId="LiveId" clId="{3D11D77D-CA94-42EA-ACB9-C1268C9CA345}" dt="2022-03-08T21:59:38.361" v="895" actId="700"/>
          <ac:spMkLst>
            <pc:docMk/>
            <pc:sldMk cId="2327000704" sldId="1056"/>
            <ac:spMk id="4" creationId="{372EADC0-B5F7-4944-BAA1-E069E2C990FF}"/>
          </ac:spMkLst>
        </pc:spChg>
        <pc:spChg chg="mod ord">
          <ac:chgData name="Johan Ludvig Brattås" userId="3c382553f8c1b01a" providerId="LiveId" clId="{3D11D77D-CA94-42EA-ACB9-C1268C9CA345}" dt="2022-03-08T21:59:38.361" v="895" actId="700"/>
          <ac:spMkLst>
            <pc:docMk/>
            <pc:sldMk cId="2327000704" sldId="1056"/>
            <ac:spMk id="5" creationId="{81EDBC27-1FA2-439F-BF40-1D9ADCEF711F}"/>
          </ac:spMkLst>
        </pc:spChg>
        <pc:spChg chg="add mod">
          <ac:chgData name="Johan Ludvig Brattås" userId="3c382553f8c1b01a" providerId="LiveId" clId="{3D11D77D-CA94-42EA-ACB9-C1268C9CA345}" dt="2022-03-08T22:00:35.509" v="939" actId="20577"/>
          <ac:spMkLst>
            <pc:docMk/>
            <pc:sldMk cId="2327000704" sldId="1056"/>
            <ac:spMk id="6" creationId="{60EE681F-9BBC-4240-B288-E1486907279E}"/>
          </ac:spMkLst>
        </pc:spChg>
        <pc:picChg chg="add del">
          <ac:chgData name="Johan Ludvig Brattås" userId="3c382553f8c1b01a" providerId="LiveId" clId="{3D11D77D-CA94-42EA-ACB9-C1268C9CA345}" dt="2022-03-08T21:59:42.269" v="897" actId="478"/>
          <ac:picMkLst>
            <pc:docMk/>
            <pc:sldMk cId="2327000704" sldId="1056"/>
            <ac:picMk id="3" creationId="{05CB6F44-97D3-4C25-A8F4-5DFFCFD0F40F}"/>
          </ac:picMkLst>
        </pc:picChg>
      </pc:sldChg>
      <pc:sldChg chg="modSp add mod modAnim">
        <pc:chgData name="Johan Ludvig Brattås" userId="3c382553f8c1b01a" providerId="LiveId" clId="{3D11D77D-CA94-42EA-ACB9-C1268C9CA345}" dt="2022-03-09T10:02:32.071" v="1157" actId="20577"/>
        <pc:sldMkLst>
          <pc:docMk/>
          <pc:sldMk cId="3254740660" sldId="1057"/>
        </pc:sldMkLst>
        <pc:spChg chg="mod">
          <ac:chgData name="Johan Ludvig Brattås" userId="3c382553f8c1b01a" providerId="LiveId" clId="{3D11D77D-CA94-42EA-ACB9-C1268C9CA345}" dt="2022-03-09T10:02:32.071" v="1157" actId="20577"/>
          <ac:spMkLst>
            <pc:docMk/>
            <pc:sldMk cId="3254740660" sldId="1057"/>
            <ac:spMk id="2" creationId="{6F1B2532-6B0C-4A1B-96B9-D9D66FFF76D5}"/>
          </ac:spMkLst>
        </pc:spChg>
      </pc:sldChg>
      <pc:sldChg chg="modSp add mod modAnim">
        <pc:chgData name="Johan Ludvig Brattås" userId="3c382553f8c1b01a" providerId="LiveId" clId="{3D11D77D-CA94-42EA-ACB9-C1268C9CA345}" dt="2022-03-09T10:04:44.064" v="1341" actId="20577"/>
        <pc:sldMkLst>
          <pc:docMk/>
          <pc:sldMk cId="3633519841" sldId="1058"/>
        </pc:sldMkLst>
        <pc:spChg chg="mod">
          <ac:chgData name="Johan Ludvig Brattås" userId="3c382553f8c1b01a" providerId="LiveId" clId="{3D11D77D-CA94-42EA-ACB9-C1268C9CA345}" dt="2022-03-09T10:04:44.064" v="1341" actId="20577"/>
          <ac:spMkLst>
            <pc:docMk/>
            <pc:sldMk cId="3633519841" sldId="1058"/>
            <ac:spMk id="2" creationId="{6F1B2532-6B0C-4A1B-96B9-D9D66FFF76D5}"/>
          </ac:spMkLst>
        </pc:spChg>
      </pc:sldChg>
      <pc:sldChg chg="modSp add mod modAnim">
        <pc:chgData name="Johan Ludvig Brattås" userId="3c382553f8c1b01a" providerId="LiveId" clId="{3D11D77D-CA94-42EA-ACB9-C1268C9CA345}" dt="2022-03-09T10:07:34.823" v="1453" actId="20577"/>
        <pc:sldMkLst>
          <pc:docMk/>
          <pc:sldMk cId="2988579973" sldId="1059"/>
        </pc:sldMkLst>
        <pc:spChg chg="mod">
          <ac:chgData name="Johan Ludvig Brattås" userId="3c382553f8c1b01a" providerId="LiveId" clId="{3D11D77D-CA94-42EA-ACB9-C1268C9CA345}" dt="2022-03-09T10:07:34.823" v="1453" actId="20577"/>
          <ac:spMkLst>
            <pc:docMk/>
            <pc:sldMk cId="2988579973" sldId="1059"/>
            <ac:spMk id="2" creationId="{6F1B2532-6B0C-4A1B-96B9-D9D66FFF76D5}"/>
          </ac:spMkLst>
        </pc:spChg>
      </pc:sldChg>
      <pc:sldChg chg="addSp delSp modSp mod">
        <pc:chgData name="Johan Ludvig Brattås" userId="3c382553f8c1b01a" providerId="LiveId" clId="{3D11D77D-CA94-42EA-ACB9-C1268C9CA345}" dt="2022-03-09T10:51:26.759" v="1754" actId="20577"/>
        <pc:sldMkLst>
          <pc:docMk/>
          <pc:sldMk cId="1935835980" sldId="1060"/>
        </pc:sldMkLst>
        <pc:spChg chg="mod">
          <ac:chgData name="Johan Ludvig Brattås" userId="3c382553f8c1b01a" providerId="LiveId" clId="{3D11D77D-CA94-42EA-ACB9-C1268C9CA345}" dt="2022-03-09T10:51:26.759" v="1754" actId="20577"/>
          <ac:spMkLst>
            <pc:docMk/>
            <pc:sldMk cId="1935835980" sldId="1060"/>
            <ac:spMk id="2" creationId="{CB2C0F85-30AF-4A7B-938C-24C2F464A399}"/>
          </ac:spMkLst>
        </pc:spChg>
        <pc:spChg chg="mod">
          <ac:chgData name="Johan Ludvig Brattås" userId="3c382553f8c1b01a" providerId="LiveId" clId="{3D11D77D-CA94-42EA-ACB9-C1268C9CA345}" dt="2022-03-09T10:11:14.315" v="1612" actId="20577"/>
          <ac:spMkLst>
            <pc:docMk/>
            <pc:sldMk cId="1935835980" sldId="1060"/>
            <ac:spMk id="3" creationId="{B490EBA8-8698-49C6-91C6-93EB77884919}"/>
          </ac:spMkLst>
        </pc:spChg>
        <pc:picChg chg="add del mod">
          <ac:chgData name="Johan Ludvig Brattås" userId="3c382553f8c1b01a" providerId="LiveId" clId="{3D11D77D-CA94-42EA-ACB9-C1268C9CA345}" dt="2022-03-09T10:46:49.543" v="1738" actId="478"/>
          <ac:picMkLst>
            <pc:docMk/>
            <pc:sldMk cId="1935835980" sldId="1060"/>
            <ac:picMk id="5" creationId="{FF5540C7-B3AC-41C2-838E-6C997E5438A3}"/>
          </ac:picMkLst>
        </pc:picChg>
        <pc:picChg chg="add del">
          <ac:chgData name="Johan Ludvig Brattås" userId="3c382553f8c1b01a" providerId="LiveId" clId="{3D11D77D-CA94-42EA-ACB9-C1268C9CA345}" dt="2022-03-09T10:51:07.947" v="1741" actId="478"/>
          <ac:picMkLst>
            <pc:docMk/>
            <pc:sldMk cId="1935835980" sldId="1060"/>
            <ac:picMk id="9" creationId="{C67CB4AB-9219-4C71-9DE9-61F711237046}"/>
          </ac:picMkLst>
        </pc:picChg>
        <pc:picChg chg="add mod">
          <ac:chgData name="Johan Ludvig Brattås" userId="3c382553f8c1b01a" providerId="LiveId" clId="{3D11D77D-CA94-42EA-ACB9-C1268C9CA345}" dt="2022-03-09T10:51:19.493" v="1743" actId="1076"/>
          <ac:picMkLst>
            <pc:docMk/>
            <pc:sldMk cId="1935835980" sldId="1060"/>
            <ac:picMk id="11" creationId="{909A91CC-1B2F-40AA-A945-718227F85372}"/>
          </ac:picMkLst>
        </pc:picChg>
        <pc:cxnChg chg="add del">
          <ac:chgData name="Johan Ludvig Brattås" userId="3c382553f8c1b01a" providerId="LiveId" clId="{3D11D77D-CA94-42EA-ACB9-C1268C9CA345}" dt="2022-03-09T10:46:52.019" v="1739" actId="478"/>
          <ac:cxnSpMkLst>
            <pc:docMk/>
            <pc:sldMk cId="1935835980" sldId="1060"/>
            <ac:cxnSpMk id="7" creationId="{4B7B4AC3-14E5-4495-9065-F9E15A6D6025}"/>
          </ac:cxnSpMkLst>
        </pc:cxnChg>
      </pc:sldChg>
      <pc:sldChg chg="delSp modSp add mod">
        <pc:chgData name="Johan Ludvig Brattås" userId="3c382553f8c1b01a" providerId="LiveId" clId="{3D11D77D-CA94-42EA-ACB9-C1268C9CA345}" dt="2022-03-09T11:08:44.615" v="2044" actId="20577"/>
        <pc:sldMkLst>
          <pc:docMk/>
          <pc:sldMk cId="4136076972" sldId="1061"/>
        </pc:sldMkLst>
        <pc:spChg chg="mod">
          <ac:chgData name="Johan Ludvig Brattås" userId="3c382553f8c1b01a" providerId="LiveId" clId="{3D11D77D-CA94-42EA-ACB9-C1268C9CA345}" dt="2022-03-09T11:08:44.615" v="2044" actId="20577"/>
          <ac:spMkLst>
            <pc:docMk/>
            <pc:sldMk cId="4136076972" sldId="1061"/>
            <ac:spMk id="2" creationId="{CB2C0F85-30AF-4A7B-938C-24C2F464A399}"/>
          </ac:spMkLst>
        </pc:spChg>
        <pc:picChg chg="del">
          <ac:chgData name="Johan Ludvig Brattås" userId="3c382553f8c1b01a" providerId="LiveId" clId="{3D11D77D-CA94-42EA-ACB9-C1268C9CA345}" dt="2022-03-09T10:53:06.636" v="1824" actId="478"/>
          <ac:picMkLst>
            <pc:docMk/>
            <pc:sldMk cId="4136076972" sldId="1061"/>
            <ac:picMk id="11" creationId="{909A91CC-1B2F-40AA-A945-718227F8537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5/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8/22 7: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9552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109361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594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61" r:id="rId16"/>
    <p:sldLayoutId id="2147483958" r:id="rId17"/>
    <p:sldLayoutId id="2147483959" r:id="rId18"/>
    <p:sldLayoutId id="2147483918" r:id="rId19"/>
    <p:sldLayoutId id="2147483922" r:id="rId20"/>
    <p:sldLayoutId id="2147483950" r:id="rId21"/>
    <p:sldLayoutId id="2147483952" r:id="rId22"/>
    <p:sldLayoutId id="2147483962"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7"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23.xml"/><Relationship Id="rId1" Type="http://schemas.openxmlformats.org/officeDocument/2006/relationships/tags" Target="../tags/tag1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Layout" Target="../slideLayouts/slideLayout2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s/_rels/slide46.xml.rels><?xml version="1.0" encoding="UTF-8" standalone="yes"?>
<Relationships xmlns="http://schemas.openxmlformats.org/package/2006/relationships"><Relationship Id="rId3" Type="http://schemas.openxmlformats.org/officeDocument/2006/relationships/hyperlink" Target="https://github.com/Azure/ALZ-Bicep" TargetMode="External"/><Relationship Id="rId2" Type="http://schemas.openxmlformats.org/officeDocument/2006/relationships/hyperlink" Target="https://github.com/Azure/Enterprise-Scale" TargetMode="External"/><Relationship Id="rId1" Type="http://schemas.openxmlformats.org/officeDocument/2006/relationships/slideLayout" Target="../slideLayouts/slideLayout4.xml"/><Relationship Id="rId4" Type="http://schemas.openxmlformats.org/officeDocument/2006/relationships/hyperlink" Target="https://github.com/Azure/data-management-zon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www.techzim.co.zw/2019/09/liquid-telecom-moving-your-business-into-the-cloud-webinar-goes-live-today/" TargetMode="External"/><Relationship Id="rId2" Type="http://schemas.openxmlformats.org/officeDocument/2006/relationships/image" Target="../media/image16.jpg"/><Relationship Id="rId1" Type="http://schemas.openxmlformats.org/officeDocument/2006/relationships/slideLayout" Target="../slideLayouts/slideLayout15.xml"/><Relationship Id="rId4" Type="http://schemas.openxmlformats.org/officeDocument/2006/relationships/hyperlink" Target="https://creativecommons.org/licenses/by-nc-nd/3.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car, mountain, vehicle&#10;&#10;Description automatically generated">
            <a:extLst>
              <a:ext uri="{FF2B5EF4-FFF2-40B4-BE49-F238E27FC236}">
                <a16:creationId xmlns:a16="http://schemas.microsoft.com/office/drawing/2014/main" id="{6D92E4EC-3C30-4A58-8551-202BDCA77C9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4417168" y="-99392"/>
            <a:ext cx="12202633" cy="6858000"/>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12" name="Subtitle 11">
            <a:extLst>
              <a:ext uri="{FF2B5EF4-FFF2-40B4-BE49-F238E27FC236}">
                <a16:creationId xmlns:a16="http://schemas.microsoft.com/office/drawing/2014/main" id="{B28D4135-3F0B-4D5A-ADA3-87022F8C1959}"/>
              </a:ext>
            </a:extLst>
          </p:cNvPr>
          <p:cNvSpPr>
            <a:spLocks noGrp="1"/>
          </p:cNvSpPr>
          <p:nvPr>
            <p:ph type="subTitle" idx="1"/>
          </p:nvPr>
        </p:nvSpPr>
        <p:spPr>
          <a:xfrm>
            <a:off x="487643" y="3734996"/>
            <a:ext cx="11386134" cy="307777"/>
          </a:xfrm>
        </p:spPr>
        <p:txBody>
          <a:bodyPr/>
          <a:lstStyle/>
          <a:p>
            <a:r>
              <a:rPr lang="en-US" b="1">
                <a:latin typeface="Graphik Meetup"/>
              </a:rPr>
              <a:t>Cloud Scale</a:t>
            </a:r>
            <a:r>
              <a:rPr lang="en-US" sz="2000" b="1" i="0">
                <a:effectLst/>
                <a:latin typeface="Graphik Meetup"/>
              </a:rPr>
              <a:t> </a:t>
            </a:r>
            <a:r>
              <a:rPr lang="en-US" sz="2000" b="1" i="0" dirty="0">
                <a:effectLst/>
                <a:latin typeface="Graphik Meetup"/>
              </a:rPr>
              <a:t>Analytics</a:t>
            </a:r>
            <a:endParaRPr lang="en-GB" dirty="0"/>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79376" y="2492896"/>
            <a:ext cx="11386134" cy="1218795"/>
          </a:xfrm>
        </p:spPr>
        <p:txBody>
          <a:bodyPr/>
          <a:lstStyle/>
          <a:p>
            <a:r>
              <a:rPr lang="en-US" sz="4400" b="1" i="0" dirty="0">
                <a:effectLst/>
                <a:latin typeface="Graphik Meetup"/>
              </a:rPr>
              <a:t>Introducing Azure Cloud Adoption Framework</a:t>
            </a:r>
            <a:endParaRPr lang="en-GB" sz="4400" dirty="0"/>
          </a:p>
        </p:txBody>
      </p:sp>
    </p:spTree>
    <p:extLst>
      <p:ext uri="{BB962C8B-B14F-4D97-AF65-F5344CB8AC3E}">
        <p14:creationId xmlns:p14="http://schemas.microsoft.com/office/powerpoint/2010/main" val="2800007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Life </a:t>
            </a:r>
            <a:r>
              <a:rPr lang="nn-NO" dirty="0" err="1"/>
              <a:t>cycle</a:t>
            </a:r>
            <a:endParaRPr lang="nb-NO" dirty="0"/>
          </a:p>
        </p:txBody>
      </p:sp>
      <p:pic>
        <p:nvPicPr>
          <p:cNvPr id="8" name="Picture 7" descr="Graphical user interface&#10;&#10;Description automatically generated">
            <a:extLst>
              <a:ext uri="{FF2B5EF4-FFF2-40B4-BE49-F238E27FC236}">
                <a16:creationId xmlns:a16="http://schemas.microsoft.com/office/drawing/2014/main" id="{9890E599-867B-4D4E-A232-9E6A0DC6C7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3062" y="1104899"/>
            <a:ext cx="10979523" cy="5253006"/>
          </a:xfrm>
          <a:prstGeom prst="rect">
            <a:avLst/>
          </a:prstGeom>
        </p:spPr>
      </p:pic>
    </p:spTree>
    <p:extLst>
      <p:ext uri="{BB962C8B-B14F-4D97-AF65-F5344CB8AC3E}">
        <p14:creationId xmlns:p14="http://schemas.microsoft.com/office/powerpoint/2010/main" val="3897347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sp>
        <p:nvSpPr>
          <p:cNvPr id="4" name="Content Placeholder 4">
            <a:extLst>
              <a:ext uri="{FF2B5EF4-FFF2-40B4-BE49-F238E27FC236}">
                <a16:creationId xmlns:a16="http://schemas.microsoft.com/office/drawing/2014/main" id="{E24E9164-CF07-43D6-999E-4A8DFDA56537}"/>
              </a:ext>
            </a:extLst>
          </p:cNvPr>
          <p:cNvSpPr txBox="1">
            <a:spLocks/>
          </p:cNvSpPr>
          <p:nvPr/>
        </p:nvSpPr>
        <p:spPr>
          <a:xfrm>
            <a:off x="404813" y="1952836"/>
            <a:ext cx="9147572" cy="2952328"/>
          </a:xfrm>
          <a:prstGeom prst="rect">
            <a:avLst/>
          </a:prstGeom>
        </p:spPr>
        <p:txBody>
          <a:bodyP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ocus for today is READY</a:t>
            </a:r>
          </a:p>
          <a:p>
            <a:endParaRPr lang="en-GB" dirty="0"/>
          </a:p>
          <a:p>
            <a:r>
              <a:rPr lang="en-GB" dirty="0"/>
              <a:t>Select your operating model</a:t>
            </a:r>
          </a:p>
          <a:p>
            <a:endParaRPr lang="en-GB" dirty="0"/>
          </a:p>
          <a:p>
            <a:endParaRPr lang="en-GB" dirty="0"/>
          </a:p>
          <a:p>
            <a:endParaRPr lang="en-GB" dirty="0"/>
          </a:p>
          <a:p>
            <a:endParaRPr lang="en-GB" dirty="0"/>
          </a:p>
        </p:txBody>
      </p:sp>
      <p:pic>
        <p:nvPicPr>
          <p:cNvPr id="3" name="Picture 2" descr="Diagram&#10;&#10;Description automatically generated">
            <a:extLst>
              <a:ext uri="{FF2B5EF4-FFF2-40B4-BE49-F238E27FC236}">
                <a16:creationId xmlns:a16="http://schemas.microsoft.com/office/drawing/2014/main" id="{EC0BCD35-BA92-4E1B-A1FD-C8B997525B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79434" y="1772816"/>
            <a:ext cx="8073288" cy="4032448"/>
          </a:xfrm>
          <a:prstGeom prst="rect">
            <a:avLst/>
          </a:prstGeom>
        </p:spPr>
      </p:pic>
    </p:spTree>
    <p:extLst>
      <p:ext uri="{BB962C8B-B14F-4D97-AF65-F5344CB8AC3E}">
        <p14:creationId xmlns:p14="http://schemas.microsoft.com/office/powerpoint/2010/main" val="88762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58B3A74D-FA5A-9446-CA45-33D2A884C6CE}"/>
              </a:ext>
            </a:extLst>
          </p:cNvPr>
          <p:cNvSpPr>
            <a:spLocks noGrp="1"/>
          </p:cNvSpPr>
          <p:nvPr>
            <p:ph type="body" sz="quarter" idx="10"/>
          </p:nvPr>
        </p:nvSpPr>
        <p:spPr/>
        <p:txBody>
          <a:bodyPr/>
          <a:lstStyle/>
          <a:p>
            <a:r>
              <a:rPr lang="nb-NO" dirty="0"/>
              <a:t>Basics </a:t>
            </a:r>
            <a:r>
              <a:rPr lang="nb-NO" dirty="0" err="1"/>
              <a:t>on</a:t>
            </a:r>
            <a:r>
              <a:rPr lang="nb-NO" dirty="0"/>
              <a:t> </a:t>
            </a:r>
            <a:r>
              <a:rPr lang="nb-NO" dirty="0" err="1"/>
              <a:t>Azure</a:t>
            </a:r>
            <a:r>
              <a:rPr lang="nb-NO" dirty="0"/>
              <a:t> </a:t>
            </a:r>
            <a:r>
              <a:rPr lang="nb-NO" dirty="0" err="1"/>
              <a:t>hierarchies</a:t>
            </a:r>
            <a:endParaRPr lang="nb-NO" dirty="0"/>
          </a:p>
          <a:p>
            <a:pPr marL="342900" indent="-342900">
              <a:buFont typeface="Arial" panose="020B0604020202020204" pitchFamily="34" charset="0"/>
              <a:buChar char="•"/>
            </a:pPr>
            <a:endParaRPr lang="nb-NO" dirty="0"/>
          </a:p>
          <a:p>
            <a:pPr marL="457200" indent="-457200">
              <a:buFont typeface="Arial" panose="020B0604020202020204" pitchFamily="34" charset="0"/>
              <a:buChar char="•"/>
            </a:pPr>
            <a:r>
              <a:rPr lang="nb-NO" dirty="0" err="1"/>
              <a:t>Tenant</a:t>
            </a:r>
            <a:endParaRPr lang="nb-NO" dirty="0"/>
          </a:p>
          <a:p>
            <a:pPr marL="457200" indent="-457200">
              <a:buFont typeface="Arial" panose="020B0604020202020204" pitchFamily="34" charset="0"/>
              <a:buChar char="•"/>
            </a:pPr>
            <a:r>
              <a:rPr lang="nb-NO" dirty="0"/>
              <a:t>Management Groups</a:t>
            </a:r>
          </a:p>
          <a:p>
            <a:pPr marL="457200" indent="-457200">
              <a:buFont typeface="Arial" panose="020B0604020202020204" pitchFamily="34" charset="0"/>
              <a:buChar char="•"/>
            </a:pPr>
            <a:r>
              <a:rPr lang="nb-NO" dirty="0"/>
              <a:t>Subscription(s)</a:t>
            </a:r>
          </a:p>
          <a:p>
            <a:pPr marL="457200" indent="-457200">
              <a:buFont typeface="Arial" panose="020B0604020202020204" pitchFamily="34" charset="0"/>
              <a:buChar char="•"/>
            </a:pPr>
            <a:r>
              <a:rPr lang="nb-NO" dirty="0"/>
              <a:t>Resource Groups</a:t>
            </a:r>
          </a:p>
        </p:txBody>
      </p:sp>
      <p:sp>
        <p:nvSpPr>
          <p:cNvPr id="3" name="Tittel 2">
            <a:extLst>
              <a:ext uri="{FF2B5EF4-FFF2-40B4-BE49-F238E27FC236}">
                <a16:creationId xmlns:a16="http://schemas.microsoft.com/office/drawing/2014/main" id="{1CD1B7BA-7744-5C50-043E-6E1582269378}"/>
              </a:ext>
            </a:extLst>
          </p:cNvPr>
          <p:cNvSpPr>
            <a:spLocks noGrp="1"/>
          </p:cNvSpPr>
          <p:nvPr>
            <p:ph type="title"/>
          </p:nvPr>
        </p:nvSpPr>
        <p:spPr/>
        <p:txBody>
          <a:bodyPr/>
          <a:lstStyle/>
          <a:p>
            <a:r>
              <a:rPr lang="nb-NO" dirty="0"/>
              <a:t>CLOUD </a:t>
            </a:r>
            <a:r>
              <a:rPr lang="nb-NO" dirty="0" err="1"/>
              <a:t>Adoption</a:t>
            </a:r>
            <a:r>
              <a:rPr lang="nb-NO" dirty="0"/>
              <a:t> Framework</a:t>
            </a:r>
          </a:p>
        </p:txBody>
      </p:sp>
      <p:pic>
        <p:nvPicPr>
          <p:cNvPr id="1026" name="Picture 2" descr="Diagram of resource organization">
            <a:extLst>
              <a:ext uri="{FF2B5EF4-FFF2-40B4-BE49-F238E27FC236}">
                <a16:creationId xmlns:a16="http://schemas.microsoft.com/office/drawing/2014/main" id="{8DA78A96-DB7E-7D99-15F0-538F977396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5760" y="2204864"/>
            <a:ext cx="7607300" cy="3797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246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1B57410D-922F-58EF-7934-C4976798C156}"/>
              </a:ext>
            </a:extLst>
          </p:cNvPr>
          <p:cNvSpPr>
            <a:spLocks noGrp="1"/>
          </p:cNvSpPr>
          <p:nvPr>
            <p:ph type="body" sz="quarter" idx="10"/>
          </p:nvPr>
        </p:nvSpPr>
        <p:spPr/>
        <p:txBody>
          <a:bodyPr/>
          <a:lstStyle/>
          <a:p>
            <a:endParaRPr lang="nb-NO"/>
          </a:p>
        </p:txBody>
      </p:sp>
      <p:pic>
        <p:nvPicPr>
          <p:cNvPr id="2050" name="Picture 2" descr="Diagram of large enterprise resource organization">
            <a:extLst>
              <a:ext uri="{FF2B5EF4-FFF2-40B4-BE49-F238E27FC236}">
                <a16:creationId xmlns:a16="http://schemas.microsoft.com/office/drawing/2014/main" id="{EB6327B4-6638-3A3F-B5E3-978A3E7159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46543"/>
            <a:ext cx="12192000" cy="6121400"/>
          </a:xfrm>
          <a:prstGeom prst="rect">
            <a:avLst/>
          </a:prstGeom>
          <a:noFill/>
          <a:extLst>
            <a:ext uri="{909E8E84-426E-40DD-AFC4-6F175D3DCCD1}">
              <a14:hiddenFill xmlns:a14="http://schemas.microsoft.com/office/drawing/2010/main">
                <a:solidFill>
                  <a:srgbClr val="FFFFFF"/>
                </a:solidFill>
              </a14:hiddenFill>
            </a:ext>
          </a:extLst>
        </p:spPr>
      </p:pic>
      <p:sp>
        <p:nvSpPr>
          <p:cNvPr id="3" name="Tittel 2">
            <a:extLst>
              <a:ext uri="{FF2B5EF4-FFF2-40B4-BE49-F238E27FC236}">
                <a16:creationId xmlns:a16="http://schemas.microsoft.com/office/drawing/2014/main" id="{68C00680-9C52-D9A9-C89A-EBE60A6FCD2D}"/>
              </a:ext>
            </a:extLst>
          </p:cNvPr>
          <p:cNvSpPr>
            <a:spLocks noGrp="1"/>
          </p:cNvSpPr>
          <p:nvPr>
            <p:ph type="title"/>
          </p:nvPr>
        </p:nvSpPr>
        <p:spPr/>
        <p:txBody>
          <a:bodyPr/>
          <a:lstStyle/>
          <a:p>
            <a:r>
              <a:rPr lang="nb-NO" dirty="0" err="1"/>
              <a:t>Cloud</a:t>
            </a:r>
            <a:r>
              <a:rPr lang="nb-NO" dirty="0"/>
              <a:t> </a:t>
            </a:r>
            <a:r>
              <a:rPr lang="nb-NO" dirty="0" err="1"/>
              <a:t>adoption</a:t>
            </a:r>
            <a:r>
              <a:rPr lang="nb-NO" dirty="0"/>
              <a:t> </a:t>
            </a:r>
            <a:r>
              <a:rPr lang="nb-NO" dirty="0" err="1"/>
              <a:t>framework</a:t>
            </a:r>
            <a:endParaRPr lang="nb-NO" dirty="0"/>
          </a:p>
        </p:txBody>
      </p:sp>
    </p:spTree>
    <p:extLst>
      <p:ext uri="{BB962C8B-B14F-4D97-AF65-F5344CB8AC3E}">
        <p14:creationId xmlns:p14="http://schemas.microsoft.com/office/powerpoint/2010/main" val="1650219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555F2929-A494-3AA9-A936-7381455E32B0}"/>
              </a:ext>
            </a:extLst>
          </p:cNvPr>
          <p:cNvSpPr>
            <a:spLocks noGrp="1"/>
          </p:cNvSpPr>
          <p:nvPr>
            <p:ph type="body" sz="quarter" idx="10"/>
          </p:nvPr>
        </p:nvSpPr>
        <p:spPr/>
        <p:txBody>
          <a:bodyPr/>
          <a:lstStyle/>
          <a:p>
            <a:r>
              <a:rPr lang="nb-NO" dirty="0" err="1"/>
              <a:t>Common</a:t>
            </a:r>
            <a:r>
              <a:rPr lang="nb-NO" dirty="0"/>
              <a:t> </a:t>
            </a:r>
            <a:r>
              <a:rPr lang="nb-NO" dirty="0" err="1"/>
              <a:t>terminology</a:t>
            </a:r>
            <a:endParaRPr lang="nb-NO" dirty="0"/>
          </a:p>
          <a:p>
            <a:pPr marL="514350" indent="-514350">
              <a:buFont typeface="Arial" panose="020B0604020202020204" pitchFamily="34" charset="0"/>
              <a:buChar char="•"/>
            </a:pPr>
            <a:endParaRPr lang="nb-NO" dirty="0"/>
          </a:p>
          <a:p>
            <a:pPr marL="514350" indent="-514350">
              <a:buFont typeface="Arial" panose="020B0604020202020204" pitchFamily="34" charset="0"/>
              <a:buChar char="•"/>
            </a:pPr>
            <a:r>
              <a:rPr lang="nb-NO" dirty="0"/>
              <a:t>Platform</a:t>
            </a:r>
          </a:p>
          <a:p>
            <a:pPr marL="635000" lvl="1" indent="-457200">
              <a:buFont typeface="Arial" panose="020B0604020202020204" pitchFamily="34" charset="0"/>
              <a:buChar char="•"/>
            </a:pPr>
            <a:r>
              <a:rPr lang="nb-NO" dirty="0"/>
              <a:t>The </a:t>
            </a:r>
            <a:r>
              <a:rPr lang="nb-NO" dirty="0" err="1"/>
              <a:t>whole</a:t>
            </a:r>
            <a:r>
              <a:rPr lang="nb-NO" dirty="0"/>
              <a:t> </a:t>
            </a:r>
            <a:r>
              <a:rPr lang="nb-NO" dirty="0" err="1"/>
              <a:t>Azure</a:t>
            </a:r>
            <a:r>
              <a:rPr lang="nb-NO" dirty="0"/>
              <a:t> </a:t>
            </a:r>
            <a:r>
              <a:rPr lang="nb-NO" dirty="0" err="1"/>
              <a:t>setup</a:t>
            </a:r>
            <a:r>
              <a:rPr lang="nb-NO" dirty="0"/>
              <a:t> – not to be </a:t>
            </a:r>
            <a:r>
              <a:rPr lang="nb-NO" dirty="0" err="1"/>
              <a:t>confused</a:t>
            </a:r>
            <a:r>
              <a:rPr lang="nb-NO" dirty="0"/>
              <a:t> </a:t>
            </a:r>
            <a:r>
              <a:rPr lang="nb-NO" dirty="0" err="1"/>
              <a:t>with</a:t>
            </a:r>
            <a:r>
              <a:rPr lang="nb-NO" dirty="0"/>
              <a:t> data </a:t>
            </a:r>
            <a:r>
              <a:rPr lang="nb-NO" dirty="0" err="1"/>
              <a:t>platform</a:t>
            </a:r>
            <a:r>
              <a:rPr lang="nb-NO" dirty="0"/>
              <a:t>...</a:t>
            </a:r>
            <a:br>
              <a:rPr lang="nb-NO" dirty="0"/>
            </a:br>
            <a:endParaRPr lang="nb-NO" dirty="0"/>
          </a:p>
          <a:p>
            <a:pPr marL="514350" indent="-514350">
              <a:buFont typeface="Arial" panose="020B0604020202020204" pitchFamily="34" charset="0"/>
              <a:buChar char="•"/>
            </a:pPr>
            <a:r>
              <a:rPr lang="nb-NO" dirty="0"/>
              <a:t>Landing Zone(s)</a:t>
            </a:r>
          </a:p>
        </p:txBody>
      </p:sp>
      <p:sp>
        <p:nvSpPr>
          <p:cNvPr id="3" name="Tittel 2">
            <a:extLst>
              <a:ext uri="{FF2B5EF4-FFF2-40B4-BE49-F238E27FC236}">
                <a16:creationId xmlns:a16="http://schemas.microsoft.com/office/drawing/2014/main" id="{DB2AE3AD-8A3E-44D8-83FA-24651FFB5741}"/>
              </a:ext>
            </a:extLst>
          </p:cNvPr>
          <p:cNvSpPr>
            <a:spLocks noGrp="1"/>
          </p:cNvSpPr>
          <p:nvPr>
            <p:ph type="title"/>
          </p:nvPr>
        </p:nvSpPr>
        <p:spPr/>
        <p:txBody>
          <a:bodyPr/>
          <a:lstStyle/>
          <a:p>
            <a:r>
              <a:rPr lang="nb-NO" dirty="0" err="1"/>
              <a:t>Cloud</a:t>
            </a:r>
            <a:r>
              <a:rPr lang="nb-NO" dirty="0"/>
              <a:t> </a:t>
            </a:r>
            <a:r>
              <a:rPr lang="nb-NO" dirty="0" err="1"/>
              <a:t>adoption</a:t>
            </a:r>
            <a:r>
              <a:rPr lang="nb-NO" dirty="0"/>
              <a:t> </a:t>
            </a:r>
            <a:r>
              <a:rPr lang="nb-NO" dirty="0" err="1"/>
              <a:t>framework</a:t>
            </a:r>
            <a:endParaRPr lang="nb-NO" dirty="0"/>
          </a:p>
        </p:txBody>
      </p:sp>
    </p:spTree>
    <p:extLst>
      <p:ext uri="{BB962C8B-B14F-4D97-AF65-F5344CB8AC3E}">
        <p14:creationId xmlns:p14="http://schemas.microsoft.com/office/powerpoint/2010/main" val="3369199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sp>
        <p:nvSpPr>
          <p:cNvPr id="4" name="Content Placeholder 4">
            <a:extLst>
              <a:ext uri="{FF2B5EF4-FFF2-40B4-BE49-F238E27FC236}">
                <a16:creationId xmlns:a16="http://schemas.microsoft.com/office/drawing/2014/main" id="{E24E9164-CF07-43D6-999E-4A8DFDA56537}"/>
              </a:ext>
            </a:extLst>
          </p:cNvPr>
          <p:cNvSpPr txBox="1">
            <a:spLocks/>
          </p:cNvSpPr>
          <p:nvPr/>
        </p:nvSpPr>
        <p:spPr>
          <a:xfrm>
            <a:off x="404812" y="1952836"/>
            <a:ext cx="9651627" cy="4068452"/>
          </a:xfrm>
          <a:prstGeom prst="rect">
            <a:avLst/>
          </a:prstGeom>
        </p:spPr>
        <p:txBody>
          <a:bodyP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Build your Landing Zone</a:t>
            </a:r>
          </a:p>
          <a:p>
            <a:endParaRPr lang="en-GB" dirty="0"/>
          </a:p>
          <a:p>
            <a:r>
              <a:rPr lang="en-GB" dirty="0"/>
              <a:t>What is a landing zone?</a:t>
            </a:r>
          </a:p>
          <a:p>
            <a:r>
              <a:rPr lang="en-GB" dirty="0"/>
              <a:t>Microsoft defines it this way: </a:t>
            </a:r>
            <a:br>
              <a:rPr lang="en-GB" dirty="0"/>
            </a:br>
            <a:r>
              <a:rPr lang="en-GB" dirty="0"/>
              <a:t>“</a:t>
            </a:r>
            <a:r>
              <a:rPr lang="en-US" i="1" dirty="0"/>
              <a:t>A landing zone is an environment for hosting your workloads, </a:t>
            </a:r>
            <a:r>
              <a:rPr lang="en-US" i="1" dirty="0" err="1"/>
              <a:t>preprovisioned</a:t>
            </a:r>
            <a:r>
              <a:rPr lang="en-US" i="1" dirty="0"/>
              <a:t> through code. </a:t>
            </a:r>
            <a:r>
              <a:rPr lang="en-US" dirty="0"/>
              <a:t>“</a:t>
            </a:r>
            <a:endParaRPr lang="en-GB" dirty="0"/>
          </a:p>
          <a:p>
            <a:endParaRPr lang="en-GB" dirty="0"/>
          </a:p>
          <a:p>
            <a:r>
              <a:rPr lang="en-GB" dirty="0"/>
              <a:t>It is your target architecture for your cloud environment. </a:t>
            </a:r>
          </a:p>
          <a:p>
            <a:r>
              <a:rPr lang="en-GB" dirty="0"/>
              <a:t>Scalable </a:t>
            </a:r>
          </a:p>
          <a:p>
            <a:r>
              <a:rPr lang="en-GB" dirty="0"/>
              <a:t>Modular</a:t>
            </a:r>
          </a:p>
          <a:p>
            <a:endParaRPr lang="en-GB" dirty="0"/>
          </a:p>
          <a:p>
            <a:endParaRPr lang="en-GB" dirty="0"/>
          </a:p>
          <a:p>
            <a:endParaRPr lang="en-GB" dirty="0"/>
          </a:p>
        </p:txBody>
      </p:sp>
    </p:spTree>
    <p:extLst>
      <p:ext uri="{BB962C8B-B14F-4D97-AF65-F5344CB8AC3E}">
        <p14:creationId xmlns:p14="http://schemas.microsoft.com/office/powerpoint/2010/main" val="2885796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81D9FCA-02AA-DDA7-D296-80DF47E8F3C5}"/>
              </a:ext>
            </a:extLst>
          </p:cNvPr>
          <p:cNvSpPr>
            <a:spLocks noGrp="1"/>
          </p:cNvSpPr>
          <p:nvPr>
            <p:ph type="title"/>
          </p:nvPr>
        </p:nvSpPr>
        <p:spPr/>
        <p:txBody>
          <a:bodyPr/>
          <a:lstStyle/>
          <a:p>
            <a:r>
              <a:rPr lang="nb-NO" dirty="0"/>
              <a:t>Design </a:t>
            </a:r>
            <a:r>
              <a:rPr lang="nb-NO" dirty="0" err="1"/>
              <a:t>Considerations</a:t>
            </a:r>
            <a:endParaRPr lang="nb-NO" dirty="0"/>
          </a:p>
        </p:txBody>
      </p:sp>
      <p:sp>
        <p:nvSpPr>
          <p:cNvPr id="4" name="Rectangle 156">
            <a:extLst>
              <a:ext uri="{FF2B5EF4-FFF2-40B4-BE49-F238E27FC236}">
                <a16:creationId xmlns:a16="http://schemas.microsoft.com/office/drawing/2014/main" id="{9174C7D2-3485-F5C4-B5B9-08B9688D6594}"/>
              </a:ext>
            </a:extLst>
          </p:cNvPr>
          <p:cNvSpPr/>
          <p:nvPr/>
        </p:nvSpPr>
        <p:spPr bwMode="auto">
          <a:xfrm>
            <a:off x="6162576" y="2004291"/>
            <a:ext cx="4024283" cy="4673600"/>
          </a:xfrm>
          <a:prstGeom prst="rect">
            <a:avLst/>
          </a:prstGeom>
          <a:solidFill>
            <a:schemeClr val="accent2"/>
          </a:solidFill>
          <a:ln w="28575">
            <a:solidFill>
              <a:schemeClr val="bg1">
                <a:lumMod val="85000"/>
                <a:lumOff val="1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5" name="TextBox 158">
            <a:extLst>
              <a:ext uri="{FF2B5EF4-FFF2-40B4-BE49-F238E27FC236}">
                <a16:creationId xmlns:a16="http://schemas.microsoft.com/office/drawing/2014/main" id="{2BAACD80-F31A-781F-7EE2-302815339CD1}"/>
              </a:ext>
            </a:extLst>
          </p:cNvPr>
          <p:cNvSpPr txBox="1"/>
          <p:nvPr/>
        </p:nvSpPr>
        <p:spPr>
          <a:xfrm>
            <a:off x="7303249" y="1684263"/>
            <a:ext cx="2883611" cy="307777"/>
          </a:xfrm>
          <a:prstGeom prst="rect">
            <a:avLst/>
          </a:prstGeom>
          <a:noFill/>
        </p:spPr>
        <p:txBody>
          <a:bodyPr wrap="none" lIns="0" tIns="0" rIns="0" bIns="0" rtlCol="0">
            <a:spAutoFit/>
          </a:bodyPr>
          <a:lstStyle/>
          <a:p>
            <a:pPr algn="r"/>
            <a:r>
              <a:rPr lang="en-US" sz="2000" dirty="0"/>
              <a:t>Compliance Design Areas</a:t>
            </a:r>
          </a:p>
        </p:txBody>
      </p:sp>
      <p:sp>
        <p:nvSpPr>
          <p:cNvPr id="6" name="Rectangle 153">
            <a:extLst>
              <a:ext uri="{FF2B5EF4-FFF2-40B4-BE49-F238E27FC236}">
                <a16:creationId xmlns:a16="http://schemas.microsoft.com/office/drawing/2014/main" id="{E492299B-0FF5-DB06-707D-CB5F625AA4D0}"/>
              </a:ext>
            </a:extLst>
          </p:cNvPr>
          <p:cNvSpPr/>
          <p:nvPr/>
        </p:nvSpPr>
        <p:spPr bwMode="auto">
          <a:xfrm>
            <a:off x="1759026" y="2004291"/>
            <a:ext cx="4381270" cy="4673600"/>
          </a:xfrm>
          <a:prstGeom prst="rect">
            <a:avLst/>
          </a:prstGeom>
          <a:solidFill>
            <a:schemeClr val="accent2"/>
          </a:solidFill>
          <a:ln w="28575">
            <a:solidFill>
              <a:schemeClr val="bg1">
                <a:lumMod val="85000"/>
                <a:lumOff val="1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7" name="Graphic 5">
            <a:extLst>
              <a:ext uri="{FF2B5EF4-FFF2-40B4-BE49-F238E27FC236}">
                <a16:creationId xmlns:a16="http://schemas.microsoft.com/office/drawing/2014/main" id="{674CFEDD-023A-410C-96DD-55174949C64C}"/>
              </a:ext>
            </a:extLst>
          </p:cNvPr>
          <p:cNvGrpSpPr/>
          <p:nvPr/>
        </p:nvGrpSpPr>
        <p:grpSpPr>
          <a:xfrm>
            <a:off x="6327034" y="4499323"/>
            <a:ext cx="967446" cy="967446"/>
            <a:chOff x="13148632" y="4139769"/>
            <a:chExt cx="1108509" cy="1108509"/>
          </a:xfrm>
        </p:grpSpPr>
        <p:sp>
          <p:nvSpPr>
            <p:cNvPr id="8" name="Freeform: Shape 77">
              <a:extLst>
                <a:ext uri="{FF2B5EF4-FFF2-40B4-BE49-F238E27FC236}">
                  <a16:creationId xmlns:a16="http://schemas.microsoft.com/office/drawing/2014/main" id="{66DF45EB-8F9E-A446-3863-1573AED35E8C}"/>
                </a:ext>
              </a:extLst>
            </p:cNvPr>
            <p:cNvSpPr/>
            <p:nvPr/>
          </p:nvSpPr>
          <p:spPr>
            <a:xfrm>
              <a:off x="13148632"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aphic 5">
              <a:extLst>
                <a:ext uri="{FF2B5EF4-FFF2-40B4-BE49-F238E27FC236}">
                  <a16:creationId xmlns:a16="http://schemas.microsoft.com/office/drawing/2014/main" id="{382BD93C-9C0F-2F64-4F4E-D65223FCC3A5}"/>
                </a:ext>
              </a:extLst>
            </p:cNvPr>
            <p:cNvGrpSpPr/>
            <p:nvPr/>
          </p:nvGrpSpPr>
          <p:grpSpPr>
            <a:xfrm>
              <a:off x="13391670" y="4382005"/>
              <a:ext cx="625642" cy="633663"/>
              <a:chOff x="13391670" y="4382005"/>
              <a:chExt cx="625642" cy="633663"/>
            </a:xfrm>
          </p:grpSpPr>
          <p:grpSp>
            <p:nvGrpSpPr>
              <p:cNvPr id="10" name="Graphic 5">
                <a:extLst>
                  <a:ext uri="{FF2B5EF4-FFF2-40B4-BE49-F238E27FC236}">
                    <a16:creationId xmlns:a16="http://schemas.microsoft.com/office/drawing/2014/main" id="{4B3CFBC9-3852-AF2B-4077-A98210F16F6E}"/>
                  </a:ext>
                </a:extLst>
              </p:cNvPr>
              <p:cNvGrpSpPr/>
              <p:nvPr/>
            </p:nvGrpSpPr>
            <p:grpSpPr>
              <a:xfrm>
                <a:off x="13516799" y="4756588"/>
                <a:ext cx="258277" cy="259079"/>
                <a:chOff x="13516799" y="4756588"/>
                <a:chExt cx="258277" cy="259079"/>
              </a:xfrm>
              <a:solidFill>
                <a:srgbClr val="50E6FF"/>
              </a:solidFill>
            </p:grpSpPr>
            <p:sp>
              <p:nvSpPr>
                <p:cNvPr id="18" name="Freeform: Shape 80">
                  <a:extLst>
                    <a:ext uri="{FF2B5EF4-FFF2-40B4-BE49-F238E27FC236}">
                      <a16:creationId xmlns:a16="http://schemas.microsoft.com/office/drawing/2014/main" id="{45D50D0A-7F3E-BBF0-500D-CE9FAADA565D}"/>
                    </a:ext>
                  </a:extLst>
                </p:cNvPr>
                <p:cNvSpPr/>
                <p:nvPr/>
              </p:nvSpPr>
              <p:spPr>
                <a:xfrm>
                  <a:off x="13547279" y="4756588"/>
                  <a:ext cx="227798" cy="155608"/>
                </a:xfrm>
                <a:custGeom>
                  <a:avLst/>
                  <a:gdLst>
                    <a:gd name="connsiteX0" fmla="*/ 0 w 227798"/>
                    <a:gd name="connsiteY0" fmla="*/ 155608 h 155608"/>
                    <a:gd name="connsiteX1" fmla="*/ 72991 w 227798"/>
                    <a:gd name="connsiteY1" fmla="*/ 155608 h 155608"/>
                    <a:gd name="connsiteX2" fmla="*/ 227798 w 227798"/>
                    <a:gd name="connsiteY2" fmla="*/ 802 h 155608"/>
                    <a:gd name="connsiteX3" fmla="*/ 154806 w 227798"/>
                    <a:gd name="connsiteY3" fmla="*/ 0 h 155608"/>
                    <a:gd name="connsiteX4" fmla="*/ 0 w 227798"/>
                    <a:gd name="connsiteY4" fmla="*/ 155608 h 15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8" h="155608">
                      <a:moveTo>
                        <a:pt x="0" y="155608"/>
                      </a:moveTo>
                      <a:lnTo>
                        <a:pt x="72991" y="155608"/>
                      </a:lnTo>
                      <a:lnTo>
                        <a:pt x="227798" y="802"/>
                      </a:lnTo>
                      <a:lnTo>
                        <a:pt x="154806" y="0"/>
                      </a:lnTo>
                      <a:lnTo>
                        <a:pt x="0" y="155608"/>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81">
                  <a:extLst>
                    <a:ext uri="{FF2B5EF4-FFF2-40B4-BE49-F238E27FC236}">
                      <a16:creationId xmlns:a16="http://schemas.microsoft.com/office/drawing/2014/main" id="{0B24D7D6-179A-8C5F-6DF2-B19B41AF005D}"/>
                    </a:ext>
                  </a:extLst>
                </p:cNvPr>
                <p:cNvSpPr/>
                <p:nvPr/>
              </p:nvSpPr>
              <p:spPr>
                <a:xfrm>
                  <a:off x="13516799" y="4860862"/>
                  <a:ext cx="227797" cy="154806"/>
                </a:xfrm>
                <a:custGeom>
                  <a:avLst/>
                  <a:gdLst>
                    <a:gd name="connsiteX0" fmla="*/ 0 w 227797"/>
                    <a:gd name="connsiteY0" fmla="*/ 154806 h 154806"/>
                    <a:gd name="connsiteX1" fmla="*/ 72991 w 227797"/>
                    <a:gd name="connsiteY1" fmla="*/ 154806 h 154806"/>
                    <a:gd name="connsiteX2" fmla="*/ 227798 w 227797"/>
                    <a:gd name="connsiteY2" fmla="*/ 0 h 154806"/>
                    <a:gd name="connsiteX3" fmla="*/ 154806 w 227797"/>
                    <a:gd name="connsiteY3" fmla="*/ 0 h 154806"/>
                    <a:gd name="connsiteX4" fmla="*/ 0 w 227797"/>
                    <a:gd name="connsiteY4" fmla="*/ 154806 h 15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7" h="154806">
                      <a:moveTo>
                        <a:pt x="0" y="154806"/>
                      </a:moveTo>
                      <a:lnTo>
                        <a:pt x="72991" y="154806"/>
                      </a:lnTo>
                      <a:lnTo>
                        <a:pt x="227798" y="0"/>
                      </a:lnTo>
                      <a:lnTo>
                        <a:pt x="154806" y="0"/>
                      </a:lnTo>
                      <a:lnTo>
                        <a:pt x="0" y="154806"/>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 name="Graphic 5">
                <a:extLst>
                  <a:ext uri="{FF2B5EF4-FFF2-40B4-BE49-F238E27FC236}">
                    <a16:creationId xmlns:a16="http://schemas.microsoft.com/office/drawing/2014/main" id="{3B075099-047F-8EFA-2574-B7A250F138DE}"/>
                  </a:ext>
                </a:extLst>
              </p:cNvPr>
              <p:cNvGrpSpPr/>
              <p:nvPr/>
            </p:nvGrpSpPr>
            <p:grpSpPr>
              <a:xfrm>
                <a:off x="13463058" y="4733327"/>
                <a:ext cx="137159" cy="137962"/>
                <a:chOff x="13463058" y="4733327"/>
                <a:chExt cx="137159" cy="137962"/>
              </a:xfrm>
              <a:solidFill>
                <a:srgbClr val="0078D4"/>
              </a:solidFill>
            </p:grpSpPr>
            <p:sp>
              <p:nvSpPr>
                <p:cNvPr id="16" name="Freeform: Shape 83">
                  <a:extLst>
                    <a:ext uri="{FF2B5EF4-FFF2-40B4-BE49-F238E27FC236}">
                      <a16:creationId xmlns:a16="http://schemas.microsoft.com/office/drawing/2014/main" id="{AB21735B-8F7C-ADC1-970A-95E1B7093258}"/>
                    </a:ext>
                  </a:extLst>
                </p:cNvPr>
                <p:cNvSpPr/>
                <p:nvPr/>
              </p:nvSpPr>
              <p:spPr>
                <a:xfrm>
                  <a:off x="13479100"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84">
                  <a:extLst>
                    <a:ext uri="{FF2B5EF4-FFF2-40B4-BE49-F238E27FC236}">
                      <a16:creationId xmlns:a16="http://schemas.microsoft.com/office/drawing/2014/main" id="{6308EEEF-8E25-010B-EB47-885A1F83FEE2}"/>
                    </a:ext>
                  </a:extLst>
                </p:cNvPr>
                <p:cNvSpPr/>
                <p:nvPr/>
              </p:nvSpPr>
              <p:spPr>
                <a:xfrm>
                  <a:off x="13463058"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 name="Graphic 5">
                <a:extLst>
                  <a:ext uri="{FF2B5EF4-FFF2-40B4-BE49-F238E27FC236}">
                    <a16:creationId xmlns:a16="http://schemas.microsoft.com/office/drawing/2014/main" id="{A6CE8203-623F-F973-1E9A-A36C0384EE27}"/>
                  </a:ext>
                </a:extLst>
              </p:cNvPr>
              <p:cNvGrpSpPr/>
              <p:nvPr/>
            </p:nvGrpSpPr>
            <p:grpSpPr>
              <a:xfrm>
                <a:off x="13775879" y="4733327"/>
                <a:ext cx="137159" cy="137962"/>
                <a:chOff x="13775879" y="4733327"/>
                <a:chExt cx="137159" cy="137962"/>
              </a:xfrm>
              <a:solidFill>
                <a:srgbClr val="0078D4"/>
              </a:solidFill>
            </p:grpSpPr>
            <p:sp>
              <p:nvSpPr>
                <p:cNvPr id="14" name="Freeform: Shape 86">
                  <a:extLst>
                    <a:ext uri="{FF2B5EF4-FFF2-40B4-BE49-F238E27FC236}">
                      <a16:creationId xmlns:a16="http://schemas.microsoft.com/office/drawing/2014/main" id="{EC7C8014-A9C2-0108-1517-DC298464C714}"/>
                    </a:ext>
                  </a:extLst>
                </p:cNvPr>
                <p:cNvSpPr/>
                <p:nvPr/>
              </p:nvSpPr>
              <p:spPr>
                <a:xfrm>
                  <a:off x="13791921"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87">
                  <a:extLst>
                    <a:ext uri="{FF2B5EF4-FFF2-40B4-BE49-F238E27FC236}">
                      <a16:creationId xmlns:a16="http://schemas.microsoft.com/office/drawing/2014/main" id="{DD9AF864-92DB-9372-2DAA-D9E09AA6B4C6}"/>
                    </a:ext>
                  </a:extLst>
                </p:cNvPr>
                <p:cNvSpPr/>
                <p:nvPr/>
              </p:nvSpPr>
              <p:spPr>
                <a:xfrm>
                  <a:off x="13775879"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Freeform: Shape 88">
                <a:extLst>
                  <a:ext uri="{FF2B5EF4-FFF2-40B4-BE49-F238E27FC236}">
                    <a16:creationId xmlns:a16="http://schemas.microsoft.com/office/drawing/2014/main" id="{A7E14FA6-B838-DCF9-92CD-0768209BCF75}"/>
                  </a:ext>
                </a:extLst>
              </p:cNvPr>
              <p:cNvSpPr/>
              <p:nvPr/>
            </p:nvSpPr>
            <p:spPr>
              <a:xfrm>
                <a:off x="13391670" y="4382005"/>
                <a:ext cx="625642" cy="385010"/>
              </a:xfrm>
              <a:custGeom>
                <a:avLst/>
                <a:gdLst>
                  <a:gd name="connsiteX0" fmla="*/ 554255 w 625642"/>
                  <a:gd name="connsiteY0" fmla="*/ 240632 h 385010"/>
                  <a:gd name="connsiteX1" fmla="*/ 553453 w 625642"/>
                  <a:gd name="connsiteY1" fmla="*/ 240632 h 385010"/>
                  <a:gd name="connsiteX2" fmla="*/ 562276 w 625642"/>
                  <a:gd name="connsiteY2" fmla="*/ 192505 h 385010"/>
                  <a:gd name="connsiteX3" fmla="*/ 437147 w 625642"/>
                  <a:gd name="connsiteY3" fmla="*/ 64168 h 385010"/>
                  <a:gd name="connsiteX4" fmla="*/ 395438 w 625642"/>
                  <a:gd name="connsiteY4" fmla="*/ 71388 h 385010"/>
                  <a:gd name="connsiteX5" fmla="*/ 249455 w 625642"/>
                  <a:gd name="connsiteY5" fmla="*/ 0 h 385010"/>
                  <a:gd name="connsiteX6" fmla="*/ 61762 w 625642"/>
                  <a:gd name="connsiteY6" fmla="*/ 192505 h 385010"/>
                  <a:gd name="connsiteX7" fmla="*/ 68179 w 625642"/>
                  <a:gd name="connsiteY7" fmla="*/ 240632 h 385010"/>
                  <a:gd name="connsiteX8" fmla="*/ 0 w 625642"/>
                  <a:gd name="connsiteY8" fmla="*/ 312821 h 385010"/>
                  <a:gd name="connsiteX9" fmla="*/ 70586 w 625642"/>
                  <a:gd name="connsiteY9" fmla="*/ 385011 h 385010"/>
                  <a:gd name="connsiteX10" fmla="*/ 555057 w 625642"/>
                  <a:gd name="connsiteY10" fmla="*/ 385011 h 385010"/>
                  <a:gd name="connsiteX11" fmla="*/ 625642 w 625642"/>
                  <a:gd name="connsiteY11" fmla="*/ 312821 h 385010"/>
                  <a:gd name="connsiteX12" fmla="*/ 554255 w 625642"/>
                  <a:gd name="connsiteY12" fmla="*/ 240632 h 38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5642" h="385010">
                    <a:moveTo>
                      <a:pt x="554255" y="240632"/>
                    </a:moveTo>
                    <a:lnTo>
                      <a:pt x="553453" y="240632"/>
                    </a:lnTo>
                    <a:cubicBezTo>
                      <a:pt x="559067" y="225391"/>
                      <a:pt x="562276" y="209349"/>
                      <a:pt x="562276" y="192505"/>
                    </a:cubicBezTo>
                    <a:cubicBezTo>
                      <a:pt x="562276" y="121920"/>
                      <a:pt x="506129" y="64168"/>
                      <a:pt x="437147" y="64168"/>
                    </a:cubicBezTo>
                    <a:cubicBezTo>
                      <a:pt x="422710" y="64168"/>
                      <a:pt x="408272" y="67377"/>
                      <a:pt x="395438" y="71388"/>
                    </a:cubicBezTo>
                    <a:cubicBezTo>
                      <a:pt x="360947" y="27272"/>
                      <a:pt x="308009" y="0"/>
                      <a:pt x="249455" y="0"/>
                    </a:cubicBezTo>
                    <a:cubicBezTo>
                      <a:pt x="145983" y="0"/>
                      <a:pt x="61762" y="85825"/>
                      <a:pt x="61762" y="192505"/>
                    </a:cubicBezTo>
                    <a:cubicBezTo>
                      <a:pt x="61762" y="209349"/>
                      <a:pt x="64168" y="225391"/>
                      <a:pt x="68179" y="240632"/>
                    </a:cubicBezTo>
                    <a:cubicBezTo>
                      <a:pt x="30480" y="241433"/>
                      <a:pt x="0" y="272716"/>
                      <a:pt x="0" y="312821"/>
                    </a:cubicBezTo>
                    <a:cubicBezTo>
                      <a:pt x="0" y="352926"/>
                      <a:pt x="31282" y="385011"/>
                      <a:pt x="70586" y="385011"/>
                    </a:cubicBezTo>
                    <a:lnTo>
                      <a:pt x="555057" y="385011"/>
                    </a:lnTo>
                    <a:cubicBezTo>
                      <a:pt x="594360" y="385011"/>
                      <a:pt x="625642" y="352926"/>
                      <a:pt x="625642" y="312821"/>
                    </a:cubicBezTo>
                    <a:cubicBezTo>
                      <a:pt x="625642" y="272716"/>
                      <a:pt x="593558" y="240632"/>
                      <a:pt x="554255" y="240632"/>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0" name="Freeform: Shape 7">
            <a:extLst>
              <a:ext uri="{FF2B5EF4-FFF2-40B4-BE49-F238E27FC236}">
                <a16:creationId xmlns:a16="http://schemas.microsoft.com/office/drawing/2014/main" id="{8C696F60-79C1-8DAA-A46B-B2A9AD849479}"/>
              </a:ext>
            </a:extLst>
          </p:cNvPr>
          <p:cNvSpPr/>
          <p:nvPr/>
        </p:nvSpPr>
        <p:spPr>
          <a:xfrm>
            <a:off x="7546361" y="4525682"/>
            <a:ext cx="2460340"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Governance</a:t>
            </a:r>
          </a:p>
        </p:txBody>
      </p:sp>
      <p:grpSp>
        <p:nvGrpSpPr>
          <p:cNvPr id="21" name="Graphic 5">
            <a:extLst>
              <a:ext uri="{FF2B5EF4-FFF2-40B4-BE49-F238E27FC236}">
                <a16:creationId xmlns:a16="http://schemas.microsoft.com/office/drawing/2014/main" id="{CEAF1FE6-5D89-0257-E449-DED41666AFBE}"/>
              </a:ext>
            </a:extLst>
          </p:cNvPr>
          <p:cNvGrpSpPr/>
          <p:nvPr/>
        </p:nvGrpSpPr>
        <p:grpSpPr>
          <a:xfrm>
            <a:off x="2083459" y="4452070"/>
            <a:ext cx="967446" cy="967446"/>
            <a:chOff x="11096050" y="-737030"/>
            <a:chExt cx="1108509" cy="1108509"/>
          </a:xfrm>
          <a:solidFill>
            <a:schemeClr val="bg2">
              <a:lumMod val="50000"/>
            </a:schemeClr>
          </a:solidFill>
        </p:grpSpPr>
        <p:sp>
          <p:nvSpPr>
            <p:cNvPr id="22" name="Freeform: Shape 30">
              <a:extLst>
                <a:ext uri="{FF2B5EF4-FFF2-40B4-BE49-F238E27FC236}">
                  <a16:creationId xmlns:a16="http://schemas.microsoft.com/office/drawing/2014/main" id="{0DFD9497-DA58-E79D-DE0E-A0EF23709817}"/>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grp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aphic 5">
              <a:extLst>
                <a:ext uri="{FF2B5EF4-FFF2-40B4-BE49-F238E27FC236}">
                  <a16:creationId xmlns:a16="http://schemas.microsoft.com/office/drawing/2014/main" id="{9FDA2222-92F7-9B1A-D05E-E36D93FED122}"/>
                </a:ext>
              </a:extLst>
            </p:cNvPr>
            <p:cNvGrpSpPr/>
            <p:nvPr/>
          </p:nvGrpSpPr>
          <p:grpSpPr>
            <a:xfrm>
              <a:off x="11346302" y="-518857"/>
              <a:ext cx="617621" cy="638475"/>
              <a:chOff x="11346302" y="-518857"/>
              <a:chExt cx="617621" cy="638475"/>
            </a:xfrm>
            <a:grpFill/>
          </p:grpSpPr>
          <p:sp>
            <p:nvSpPr>
              <p:cNvPr id="24" name="Freeform: Shape 32">
                <a:extLst>
                  <a:ext uri="{FF2B5EF4-FFF2-40B4-BE49-F238E27FC236}">
                    <a16:creationId xmlns:a16="http://schemas.microsoft.com/office/drawing/2014/main" id="{7418082E-109A-5D27-57F0-9B80DEFDA159}"/>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grp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33">
                <a:extLst>
                  <a:ext uri="{FF2B5EF4-FFF2-40B4-BE49-F238E27FC236}">
                    <a16:creationId xmlns:a16="http://schemas.microsoft.com/office/drawing/2014/main" id="{1E6C54C7-46C3-EAE6-EF38-2E3BE1BF6E73}"/>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34">
                <a:extLst>
                  <a:ext uri="{FF2B5EF4-FFF2-40B4-BE49-F238E27FC236}">
                    <a16:creationId xmlns:a16="http://schemas.microsoft.com/office/drawing/2014/main" id="{AACAAB51-A3A1-8D60-6D67-B1FF74580766}"/>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35">
                <a:extLst>
                  <a:ext uri="{FF2B5EF4-FFF2-40B4-BE49-F238E27FC236}">
                    <a16:creationId xmlns:a16="http://schemas.microsoft.com/office/drawing/2014/main" id="{B61B0ACB-1CDF-7AB6-4092-447FD3FDDE0E}"/>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36">
                <a:extLst>
                  <a:ext uri="{FF2B5EF4-FFF2-40B4-BE49-F238E27FC236}">
                    <a16:creationId xmlns:a16="http://schemas.microsoft.com/office/drawing/2014/main" id="{EC6C9D83-F580-A1E6-ED2C-3934C9C19DED}"/>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37">
                <a:extLst>
                  <a:ext uri="{FF2B5EF4-FFF2-40B4-BE49-F238E27FC236}">
                    <a16:creationId xmlns:a16="http://schemas.microsoft.com/office/drawing/2014/main" id="{69C1C6AB-E9C8-3682-B817-321C7CE5AE74}"/>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0" name="Graphic 5">
                <a:extLst>
                  <a:ext uri="{FF2B5EF4-FFF2-40B4-BE49-F238E27FC236}">
                    <a16:creationId xmlns:a16="http://schemas.microsoft.com/office/drawing/2014/main" id="{84C1D78F-C7C0-8CA1-927F-BDDE5F51773E}"/>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DD0F7423-ADA4-AF1E-D0D0-CD6B324DB2A4}"/>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A2174C08-72DE-6D41-BD73-E4F58E25C6C1}"/>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aphic 5">
                <a:extLst>
                  <a:ext uri="{FF2B5EF4-FFF2-40B4-BE49-F238E27FC236}">
                    <a16:creationId xmlns:a16="http://schemas.microsoft.com/office/drawing/2014/main" id="{EA69208B-0641-70C6-9DD5-2FF2A94A6AEA}"/>
                  </a:ext>
                </a:extLst>
              </p:cNvPr>
              <p:cNvGrpSpPr/>
              <p:nvPr/>
            </p:nvGrpSpPr>
            <p:grpSpPr>
              <a:xfrm>
                <a:off x="11612601" y="-11124"/>
                <a:ext cx="82616" cy="104273"/>
                <a:chOff x="11612601" y="-11124"/>
                <a:chExt cx="82616" cy="104273"/>
              </a:xfrm>
              <a:grpFill/>
            </p:grpSpPr>
            <p:sp>
              <p:nvSpPr>
                <p:cNvPr id="38" name="Freeform: Shape 42">
                  <a:extLst>
                    <a:ext uri="{FF2B5EF4-FFF2-40B4-BE49-F238E27FC236}">
                      <a16:creationId xmlns:a16="http://schemas.microsoft.com/office/drawing/2014/main" id="{3EC46C9D-200F-E78C-56A8-599692F289D4}"/>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Shape 43">
                  <a:extLst>
                    <a:ext uri="{FF2B5EF4-FFF2-40B4-BE49-F238E27FC236}">
                      <a16:creationId xmlns:a16="http://schemas.microsoft.com/office/drawing/2014/main" id="{1EF2A0B2-2894-68DB-7A85-5038ACE7B4FD}"/>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2" name="Graphic 5">
                <a:extLst>
                  <a:ext uri="{FF2B5EF4-FFF2-40B4-BE49-F238E27FC236}">
                    <a16:creationId xmlns:a16="http://schemas.microsoft.com/office/drawing/2014/main" id="{CF2A88D5-3F77-E3E1-B977-81965FA14180}"/>
                  </a:ext>
                </a:extLst>
              </p:cNvPr>
              <p:cNvGrpSpPr/>
              <p:nvPr/>
            </p:nvGrpSpPr>
            <p:grpSpPr>
              <a:xfrm>
                <a:off x="11382397" y="-11124"/>
                <a:ext cx="82616" cy="104273"/>
                <a:chOff x="11382397" y="-11124"/>
                <a:chExt cx="82616" cy="104273"/>
              </a:xfrm>
              <a:grpFill/>
            </p:grpSpPr>
            <p:sp>
              <p:nvSpPr>
                <p:cNvPr id="36" name="Freeform: Shape 45">
                  <a:extLst>
                    <a:ext uri="{FF2B5EF4-FFF2-40B4-BE49-F238E27FC236}">
                      <a16:creationId xmlns:a16="http://schemas.microsoft.com/office/drawing/2014/main" id="{31A4C27A-23CE-690C-0D52-8684C267A032}"/>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46">
                  <a:extLst>
                    <a:ext uri="{FF2B5EF4-FFF2-40B4-BE49-F238E27FC236}">
                      <a16:creationId xmlns:a16="http://schemas.microsoft.com/office/drawing/2014/main" id="{7BB93DBF-A992-155E-597B-4D8B4A2EB98A}"/>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chemeClr val="bg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aphic 5">
                <a:extLst>
                  <a:ext uri="{FF2B5EF4-FFF2-40B4-BE49-F238E27FC236}">
                    <a16:creationId xmlns:a16="http://schemas.microsoft.com/office/drawing/2014/main" id="{CF350CE3-0782-35CA-1E88-7B0BF0509D47}"/>
                  </a:ext>
                </a:extLst>
              </p:cNvPr>
              <p:cNvGrpSpPr/>
              <p:nvPr/>
            </p:nvGrpSpPr>
            <p:grpSpPr>
              <a:xfrm>
                <a:off x="11612601" y="-493190"/>
                <a:ext cx="82616" cy="105075"/>
                <a:chOff x="11612601" y="-493190"/>
                <a:chExt cx="82616" cy="105075"/>
              </a:xfrm>
              <a:grpFill/>
            </p:grpSpPr>
            <p:sp>
              <p:nvSpPr>
                <p:cNvPr id="34" name="Freeform: Shape 48">
                  <a:extLst>
                    <a:ext uri="{FF2B5EF4-FFF2-40B4-BE49-F238E27FC236}">
                      <a16:creationId xmlns:a16="http://schemas.microsoft.com/office/drawing/2014/main" id="{A0A36D27-1625-8321-3062-9462ECC4BC87}"/>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49">
                  <a:extLst>
                    <a:ext uri="{FF2B5EF4-FFF2-40B4-BE49-F238E27FC236}">
                      <a16:creationId xmlns:a16="http://schemas.microsoft.com/office/drawing/2014/main" id="{E3607401-E2BB-289B-223E-7DD51D4C2425}"/>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42" name="Freeform: Shape 5">
            <a:extLst>
              <a:ext uri="{FF2B5EF4-FFF2-40B4-BE49-F238E27FC236}">
                <a16:creationId xmlns:a16="http://schemas.microsoft.com/office/drawing/2014/main" id="{B6401D87-7226-89C2-4B4A-4BD54E2781A2}"/>
              </a:ext>
            </a:extLst>
          </p:cNvPr>
          <p:cNvSpPr/>
          <p:nvPr/>
        </p:nvSpPr>
        <p:spPr>
          <a:xfrm>
            <a:off x="3280832" y="4499323"/>
            <a:ext cx="2612203"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3" name="Graphic 5">
            <a:extLst>
              <a:ext uri="{FF2B5EF4-FFF2-40B4-BE49-F238E27FC236}">
                <a16:creationId xmlns:a16="http://schemas.microsoft.com/office/drawing/2014/main" id="{4C2EF210-CEE0-1B08-4CF4-FDB5C29724D2}"/>
              </a:ext>
            </a:extLst>
          </p:cNvPr>
          <p:cNvGrpSpPr/>
          <p:nvPr/>
        </p:nvGrpSpPr>
        <p:grpSpPr>
          <a:xfrm>
            <a:off x="6334055" y="5653351"/>
            <a:ext cx="967446" cy="967446"/>
            <a:chOff x="9025811" y="4139769"/>
            <a:chExt cx="1108509" cy="1108509"/>
          </a:xfrm>
        </p:grpSpPr>
        <p:sp>
          <p:nvSpPr>
            <p:cNvPr id="44" name="Freeform: Shape 113">
              <a:extLst>
                <a:ext uri="{FF2B5EF4-FFF2-40B4-BE49-F238E27FC236}">
                  <a16:creationId xmlns:a16="http://schemas.microsoft.com/office/drawing/2014/main" id="{9EFF437A-1889-1BB8-C5EC-74ACBF57D254}"/>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5" name="Graphic 5">
              <a:extLst>
                <a:ext uri="{FF2B5EF4-FFF2-40B4-BE49-F238E27FC236}">
                  <a16:creationId xmlns:a16="http://schemas.microsoft.com/office/drawing/2014/main" id="{6923DBD9-45C4-FB8D-E3B9-E644201B52A4}"/>
                </a:ext>
              </a:extLst>
            </p:cNvPr>
            <p:cNvGrpSpPr/>
            <p:nvPr/>
          </p:nvGrpSpPr>
          <p:grpSpPr>
            <a:xfrm>
              <a:off x="9388363" y="4423715"/>
              <a:ext cx="358541" cy="521368"/>
              <a:chOff x="9388363" y="4423715"/>
              <a:chExt cx="358541" cy="521368"/>
            </a:xfrm>
          </p:grpSpPr>
          <p:sp>
            <p:nvSpPr>
              <p:cNvPr id="46" name="Freeform: Shape 115">
                <a:extLst>
                  <a:ext uri="{FF2B5EF4-FFF2-40B4-BE49-F238E27FC236}">
                    <a16:creationId xmlns:a16="http://schemas.microsoft.com/office/drawing/2014/main" id="{37736EF8-557A-60BD-03CF-164C861D5DBD}"/>
                  </a:ext>
                </a:extLst>
              </p:cNvPr>
              <p:cNvSpPr/>
              <p:nvPr/>
            </p:nvSpPr>
            <p:spPr>
              <a:xfrm>
                <a:off x="9388363" y="4423715"/>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116">
                <a:extLst>
                  <a:ext uri="{FF2B5EF4-FFF2-40B4-BE49-F238E27FC236}">
                    <a16:creationId xmlns:a16="http://schemas.microsoft.com/office/drawing/2014/main" id="{78FD2094-E9AC-9160-F7AE-F55A423D6CDE}"/>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117">
                <a:extLst>
                  <a:ext uri="{FF2B5EF4-FFF2-40B4-BE49-F238E27FC236}">
                    <a16:creationId xmlns:a16="http://schemas.microsoft.com/office/drawing/2014/main" id="{82383CCC-83E2-45E4-60DD-3B6519DBA20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118">
                <a:extLst>
                  <a:ext uri="{FF2B5EF4-FFF2-40B4-BE49-F238E27FC236}">
                    <a16:creationId xmlns:a16="http://schemas.microsoft.com/office/drawing/2014/main" id="{026DC19B-DB00-283E-86F7-84A0873AAFD1}"/>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119">
                <a:extLst>
                  <a:ext uri="{FF2B5EF4-FFF2-40B4-BE49-F238E27FC236}">
                    <a16:creationId xmlns:a16="http://schemas.microsoft.com/office/drawing/2014/main" id="{8E6B1B43-9B31-F0BE-DA8B-4F2949DC84A9}"/>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120">
                <a:extLst>
                  <a:ext uri="{FF2B5EF4-FFF2-40B4-BE49-F238E27FC236}">
                    <a16:creationId xmlns:a16="http://schemas.microsoft.com/office/drawing/2014/main" id="{7C25A1A0-B330-0D50-F8CD-52245D54C659}"/>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2" name="Graphic 5">
                <a:extLst>
                  <a:ext uri="{FF2B5EF4-FFF2-40B4-BE49-F238E27FC236}">
                    <a16:creationId xmlns:a16="http://schemas.microsoft.com/office/drawing/2014/main" id="{04493B7C-7521-B430-8CDB-A712693B83F2}"/>
                  </a:ext>
                </a:extLst>
              </p:cNvPr>
              <p:cNvGrpSpPr/>
              <p:nvPr/>
            </p:nvGrpSpPr>
            <p:grpSpPr>
              <a:xfrm>
                <a:off x="9436489" y="4480664"/>
                <a:ext cx="84221" cy="63366"/>
                <a:chOff x="9436489" y="4480664"/>
                <a:chExt cx="84221" cy="63366"/>
              </a:xfrm>
              <a:solidFill>
                <a:srgbClr val="FFFFFF"/>
              </a:solidFill>
            </p:grpSpPr>
            <p:sp>
              <p:nvSpPr>
                <p:cNvPr id="65" name="Freeform: Shape 122">
                  <a:extLst>
                    <a:ext uri="{FF2B5EF4-FFF2-40B4-BE49-F238E27FC236}">
                      <a16:creationId xmlns:a16="http://schemas.microsoft.com/office/drawing/2014/main" id="{AC000CFE-CE74-26E1-DEDB-892CA31A2304}"/>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123">
                  <a:extLst>
                    <a:ext uri="{FF2B5EF4-FFF2-40B4-BE49-F238E27FC236}">
                      <a16:creationId xmlns:a16="http://schemas.microsoft.com/office/drawing/2014/main" id="{1105A1D1-ECD0-1520-16A4-68B1284F067A}"/>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3" name="Graphic 5">
                <a:extLst>
                  <a:ext uri="{FF2B5EF4-FFF2-40B4-BE49-F238E27FC236}">
                    <a16:creationId xmlns:a16="http://schemas.microsoft.com/office/drawing/2014/main" id="{CD52C0D1-46AE-E9A2-FFD9-35CBAFE86414}"/>
                  </a:ext>
                </a:extLst>
              </p:cNvPr>
              <p:cNvGrpSpPr/>
              <p:nvPr/>
            </p:nvGrpSpPr>
            <p:grpSpPr>
              <a:xfrm>
                <a:off x="9436489" y="4564083"/>
                <a:ext cx="84221" cy="63366"/>
                <a:chOff x="9436489" y="4564083"/>
                <a:chExt cx="84221" cy="63366"/>
              </a:xfrm>
              <a:solidFill>
                <a:srgbClr val="FFFFFF"/>
              </a:solidFill>
            </p:grpSpPr>
            <p:sp>
              <p:nvSpPr>
                <p:cNvPr id="63" name="Freeform: Shape 125">
                  <a:extLst>
                    <a:ext uri="{FF2B5EF4-FFF2-40B4-BE49-F238E27FC236}">
                      <a16:creationId xmlns:a16="http://schemas.microsoft.com/office/drawing/2014/main" id="{80AD6DEA-B1FD-16A1-B460-AABA7B11DCF0}"/>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126">
                  <a:extLst>
                    <a:ext uri="{FF2B5EF4-FFF2-40B4-BE49-F238E27FC236}">
                      <a16:creationId xmlns:a16="http://schemas.microsoft.com/office/drawing/2014/main" id="{2939FA5D-2945-6C4B-08D6-A876DAC2645E}"/>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4" name="Graphic 5">
                <a:extLst>
                  <a:ext uri="{FF2B5EF4-FFF2-40B4-BE49-F238E27FC236}">
                    <a16:creationId xmlns:a16="http://schemas.microsoft.com/office/drawing/2014/main" id="{5A3F3A8A-D70F-90CF-66F3-8C92E55884B4}"/>
                  </a:ext>
                </a:extLst>
              </p:cNvPr>
              <p:cNvGrpSpPr/>
              <p:nvPr/>
            </p:nvGrpSpPr>
            <p:grpSpPr>
              <a:xfrm>
                <a:off x="9436489" y="4647502"/>
                <a:ext cx="84221" cy="63366"/>
                <a:chOff x="9436489" y="4647502"/>
                <a:chExt cx="84221" cy="63366"/>
              </a:xfrm>
              <a:solidFill>
                <a:srgbClr val="FFFFFF"/>
              </a:solidFill>
            </p:grpSpPr>
            <p:sp>
              <p:nvSpPr>
                <p:cNvPr id="61" name="Freeform: Shape 128">
                  <a:extLst>
                    <a:ext uri="{FF2B5EF4-FFF2-40B4-BE49-F238E27FC236}">
                      <a16:creationId xmlns:a16="http://schemas.microsoft.com/office/drawing/2014/main" id="{570FEEC8-326E-260C-F6DA-6CA0E204E33F}"/>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129">
                  <a:extLst>
                    <a:ext uri="{FF2B5EF4-FFF2-40B4-BE49-F238E27FC236}">
                      <a16:creationId xmlns:a16="http://schemas.microsoft.com/office/drawing/2014/main" id="{8B1C4388-CA47-7E14-3398-04D09408683F}"/>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5" name="Graphic 5">
                <a:extLst>
                  <a:ext uri="{FF2B5EF4-FFF2-40B4-BE49-F238E27FC236}">
                    <a16:creationId xmlns:a16="http://schemas.microsoft.com/office/drawing/2014/main" id="{43090F69-636A-5159-A5B3-9B1BDF5807D0}"/>
                  </a:ext>
                </a:extLst>
              </p:cNvPr>
              <p:cNvGrpSpPr/>
              <p:nvPr/>
            </p:nvGrpSpPr>
            <p:grpSpPr>
              <a:xfrm>
                <a:off x="9436489" y="4730921"/>
                <a:ext cx="84221" cy="63366"/>
                <a:chOff x="9436489" y="4730921"/>
                <a:chExt cx="84221" cy="63366"/>
              </a:xfrm>
              <a:solidFill>
                <a:srgbClr val="FFFFFF"/>
              </a:solidFill>
            </p:grpSpPr>
            <p:sp>
              <p:nvSpPr>
                <p:cNvPr id="59" name="Freeform: Shape 131">
                  <a:extLst>
                    <a:ext uri="{FF2B5EF4-FFF2-40B4-BE49-F238E27FC236}">
                      <a16:creationId xmlns:a16="http://schemas.microsoft.com/office/drawing/2014/main" id="{01F1BBA6-B1CC-5DED-AC5B-324801428C34}"/>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132">
                  <a:extLst>
                    <a:ext uri="{FF2B5EF4-FFF2-40B4-BE49-F238E27FC236}">
                      <a16:creationId xmlns:a16="http://schemas.microsoft.com/office/drawing/2014/main" id="{54FE0EEC-9AC9-1B6C-14DE-88BA853DEFB6}"/>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aphic 5">
                <a:extLst>
                  <a:ext uri="{FF2B5EF4-FFF2-40B4-BE49-F238E27FC236}">
                    <a16:creationId xmlns:a16="http://schemas.microsoft.com/office/drawing/2014/main" id="{5443EA45-1C9D-DA40-C599-F9561BFCC8F8}"/>
                  </a:ext>
                </a:extLst>
              </p:cNvPr>
              <p:cNvGrpSpPr/>
              <p:nvPr/>
            </p:nvGrpSpPr>
            <p:grpSpPr>
              <a:xfrm>
                <a:off x="9436489" y="4814340"/>
                <a:ext cx="84221" cy="63366"/>
                <a:chOff x="9436489" y="4814340"/>
                <a:chExt cx="84221" cy="63366"/>
              </a:xfrm>
              <a:solidFill>
                <a:srgbClr val="FFFFFF"/>
              </a:solidFill>
            </p:grpSpPr>
            <p:sp>
              <p:nvSpPr>
                <p:cNvPr id="57" name="Freeform: Shape 134">
                  <a:extLst>
                    <a:ext uri="{FF2B5EF4-FFF2-40B4-BE49-F238E27FC236}">
                      <a16:creationId xmlns:a16="http://schemas.microsoft.com/office/drawing/2014/main" id="{A8020D2F-B00F-4F04-8054-9709615C92AF}"/>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135">
                  <a:extLst>
                    <a:ext uri="{FF2B5EF4-FFF2-40B4-BE49-F238E27FC236}">
                      <a16:creationId xmlns:a16="http://schemas.microsoft.com/office/drawing/2014/main" id="{D5253D34-0179-DFDF-98EF-2612E54AC17D}"/>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67" name="Freeform: Shape 3">
            <a:extLst>
              <a:ext uri="{FF2B5EF4-FFF2-40B4-BE49-F238E27FC236}">
                <a16:creationId xmlns:a16="http://schemas.microsoft.com/office/drawing/2014/main" id="{B05670DD-C673-32DC-322D-577EB9148AFA}"/>
              </a:ext>
            </a:extLst>
          </p:cNvPr>
          <p:cNvSpPr/>
          <p:nvPr/>
        </p:nvSpPr>
        <p:spPr>
          <a:xfrm>
            <a:off x="7546361" y="5679710"/>
            <a:ext cx="2460339"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8" name="Graphic 5">
            <a:extLst>
              <a:ext uri="{FF2B5EF4-FFF2-40B4-BE49-F238E27FC236}">
                <a16:creationId xmlns:a16="http://schemas.microsoft.com/office/drawing/2014/main" id="{8146192D-F914-A8F3-5818-099E10455F55}"/>
              </a:ext>
            </a:extLst>
          </p:cNvPr>
          <p:cNvGrpSpPr/>
          <p:nvPr/>
        </p:nvGrpSpPr>
        <p:grpSpPr>
          <a:xfrm>
            <a:off x="6327034" y="3329866"/>
            <a:ext cx="967446" cy="967446"/>
            <a:chOff x="11107275" y="4998022"/>
            <a:chExt cx="1108509" cy="1108509"/>
          </a:xfrm>
        </p:grpSpPr>
        <p:sp>
          <p:nvSpPr>
            <p:cNvPr id="69" name="Freeform: Shape 90">
              <a:extLst>
                <a:ext uri="{FF2B5EF4-FFF2-40B4-BE49-F238E27FC236}">
                  <a16:creationId xmlns:a16="http://schemas.microsoft.com/office/drawing/2014/main" id="{52B9DD96-4738-8FA0-E5DD-B048BC06350F}"/>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70" name="Graphic 5">
              <a:extLst>
                <a:ext uri="{FF2B5EF4-FFF2-40B4-BE49-F238E27FC236}">
                  <a16:creationId xmlns:a16="http://schemas.microsoft.com/office/drawing/2014/main" id="{29AA4B64-BD0C-427E-301E-CDADCE8A0E8F}"/>
                </a:ext>
              </a:extLst>
            </p:cNvPr>
            <p:cNvGrpSpPr/>
            <p:nvPr/>
          </p:nvGrpSpPr>
          <p:grpSpPr>
            <a:xfrm>
              <a:off x="11364750" y="5253894"/>
              <a:ext cx="599974" cy="599974"/>
              <a:chOff x="11364750" y="5253894"/>
              <a:chExt cx="599974" cy="599974"/>
            </a:xfrm>
          </p:grpSpPr>
          <p:grpSp>
            <p:nvGrpSpPr>
              <p:cNvPr id="71" name="Graphic 5">
                <a:extLst>
                  <a:ext uri="{FF2B5EF4-FFF2-40B4-BE49-F238E27FC236}">
                    <a16:creationId xmlns:a16="http://schemas.microsoft.com/office/drawing/2014/main" id="{89594E60-1922-DB14-B778-41EE16697A84}"/>
                  </a:ext>
                </a:extLst>
              </p:cNvPr>
              <p:cNvGrpSpPr/>
              <p:nvPr/>
            </p:nvGrpSpPr>
            <p:grpSpPr>
              <a:xfrm>
                <a:off x="11533192" y="5253894"/>
                <a:ext cx="431532" cy="431532"/>
                <a:chOff x="11533192" y="5253894"/>
                <a:chExt cx="431532" cy="431532"/>
              </a:xfrm>
              <a:solidFill>
                <a:srgbClr val="0078D4"/>
              </a:solidFill>
            </p:grpSpPr>
            <p:sp>
              <p:nvSpPr>
                <p:cNvPr id="82" name="Freeform: Shape 93">
                  <a:extLst>
                    <a:ext uri="{FF2B5EF4-FFF2-40B4-BE49-F238E27FC236}">
                      <a16:creationId xmlns:a16="http://schemas.microsoft.com/office/drawing/2014/main" id="{64602AC2-D172-039F-3A50-6F4857654C34}"/>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94">
                  <a:extLst>
                    <a:ext uri="{FF2B5EF4-FFF2-40B4-BE49-F238E27FC236}">
                      <a16:creationId xmlns:a16="http://schemas.microsoft.com/office/drawing/2014/main" id="{23BECD45-F1E1-A638-8ABA-FB4981F15909}"/>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95">
                  <a:extLst>
                    <a:ext uri="{FF2B5EF4-FFF2-40B4-BE49-F238E27FC236}">
                      <a16:creationId xmlns:a16="http://schemas.microsoft.com/office/drawing/2014/main" id="{77DA78C5-86FB-E6A6-6EB0-572B46AE31EB}"/>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96">
                  <a:extLst>
                    <a:ext uri="{FF2B5EF4-FFF2-40B4-BE49-F238E27FC236}">
                      <a16:creationId xmlns:a16="http://schemas.microsoft.com/office/drawing/2014/main" id="{30F34DDE-50A1-C590-D78D-9061CC898D15}"/>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97">
                  <a:extLst>
                    <a:ext uri="{FF2B5EF4-FFF2-40B4-BE49-F238E27FC236}">
                      <a16:creationId xmlns:a16="http://schemas.microsoft.com/office/drawing/2014/main" id="{2FD85EA9-514F-7EDB-40B9-66542AAB68E8}"/>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98">
                  <a:extLst>
                    <a:ext uri="{FF2B5EF4-FFF2-40B4-BE49-F238E27FC236}">
                      <a16:creationId xmlns:a16="http://schemas.microsoft.com/office/drawing/2014/main" id="{0413E304-7254-A5D5-2278-058C9FED62E4}"/>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99">
                  <a:extLst>
                    <a:ext uri="{FF2B5EF4-FFF2-40B4-BE49-F238E27FC236}">
                      <a16:creationId xmlns:a16="http://schemas.microsoft.com/office/drawing/2014/main" id="{2E02A363-3DD8-F765-02CE-0DDAC86EAF7B}"/>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100">
                  <a:extLst>
                    <a:ext uri="{FF2B5EF4-FFF2-40B4-BE49-F238E27FC236}">
                      <a16:creationId xmlns:a16="http://schemas.microsoft.com/office/drawing/2014/main" id="{30B50A6D-E9E6-4085-97FC-BB0F68E46736}"/>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101">
                  <a:extLst>
                    <a:ext uri="{FF2B5EF4-FFF2-40B4-BE49-F238E27FC236}">
                      <a16:creationId xmlns:a16="http://schemas.microsoft.com/office/drawing/2014/main" id="{6830C117-BAE7-834E-F688-0DC29EB18B49}"/>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2" name="Graphic 5">
                <a:extLst>
                  <a:ext uri="{FF2B5EF4-FFF2-40B4-BE49-F238E27FC236}">
                    <a16:creationId xmlns:a16="http://schemas.microsoft.com/office/drawing/2014/main" id="{F8F306A9-8C74-A4C3-13FD-F37B87F89F47}"/>
                  </a:ext>
                </a:extLst>
              </p:cNvPr>
              <p:cNvGrpSpPr/>
              <p:nvPr/>
            </p:nvGrpSpPr>
            <p:grpSpPr>
              <a:xfrm>
                <a:off x="11364750" y="5590778"/>
                <a:ext cx="262288" cy="263090"/>
                <a:chOff x="11364750" y="5590778"/>
                <a:chExt cx="262288" cy="263090"/>
              </a:xfrm>
              <a:solidFill>
                <a:srgbClr val="50E6FF"/>
              </a:solidFill>
            </p:grpSpPr>
            <p:sp>
              <p:nvSpPr>
                <p:cNvPr id="73" name="Freeform: Shape 103">
                  <a:extLst>
                    <a:ext uri="{FF2B5EF4-FFF2-40B4-BE49-F238E27FC236}">
                      <a16:creationId xmlns:a16="http://schemas.microsoft.com/office/drawing/2014/main" id="{3E1443F2-8E09-4EEE-A9F5-58058011B85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104">
                  <a:extLst>
                    <a:ext uri="{FF2B5EF4-FFF2-40B4-BE49-F238E27FC236}">
                      <a16:creationId xmlns:a16="http://schemas.microsoft.com/office/drawing/2014/main" id="{708B37F2-DF51-34C0-AFFF-A5635515DB84}"/>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105">
                  <a:extLst>
                    <a:ext uri="{FF2B5EF4-FFF2-40B4-BE49-F238E27FC236}">
                      <a16:creationId xmlns:a16="http://schemas.microsoft.com/office/drawing/2014/main" id="{3E00C2B3-0373-D9EF-124B-A47D6FCA6BDD}"/>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106">
                  <a:extLst>
                    <a:ext uri="{FF2B5EF4-FFF2-40B4-BE49-F238E27FC236}">
                      <a16:creationId xmlns:a16="http://schemas.microsoft.com/office/drawing/2014/main" id="{DC752BE7-37F4-6B2B-2B4B-9F3F54383705}"/>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107">
                  <a:extLst>
                    <a:ext uri="{FF2B5EF4-FFF2-40B4-BE49-F238E27FC236}">
                      <a16:creationId xmlns:a16="http://schemas.microsoft.com/office/drawing/2014/main" id="{5BA2DACD-BC4A-9634-A7FC-B80746267685}"/>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108">
                  <a:extLst>
                    <a:ext uri="{FF2B5EF4-FFF2-40B4-BE49-F238E27FC236}">
                      <a16:creationId xmlns:a16="http://schemas.microsoft.com/office/drawing/2014/main" id="{FCBEB4DC-75F4-19B3-A994-8AC6D7CEDBC0}"/>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109">
                  <a:extLst>
                    <a:ext uri="{FF2B5EF4-FFF2-40B4-BE49-F238E27FC236}">
                      <a16:creationId xmlns:a16="http://schemas.microsoft.com/office/drawing/2014/main" id="{4F70A690-7F0E-2BB9-8AC6-784A66F05890}"/>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110">
                  <a:extLst>
                    <a:ext uri="{FF2B5EF4-FFF2-40B4-BE49-F238E27FC236}">
                      <a16:creationId xmlns:a16="http://schemas.microsoft.com/office/drawing/2014/main" id="{122AFC99-399E-0C2C-5D5C-38FFD0CFD4B5}"/>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111">
                  <a:extLst>
                    <a:ext uri="{FF2B5EF4-FFF2-40B4-BE49-F238E27FC236}">
                      <a16:creationId xmlns:a16="http://schemas.microsoft.com/office/drawing/2014/main" id="{C9AF156E-3536-CBB3-0EAA-E19456531230}"/>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91" name="Freeform: Shape 4">
            <a:extLst>
              <a:ext uri="{FF2B5EF4-FFF2-40B4-BE49-F238E27FC236}">
                <a16:creationId xmlns:a16="http://schemas.microsoft.com/office/drawing/2014/main" id="{48963D6B-AC44-CB2E-C45E-AC156D3719A3}"/>
              </a:ext>
            </a:extLst>
          </p:cNvPr>
          <p:cNvSpPr/>
          <p:nvPr/>
        </p:nvSpPr>
        <p:spPr>
          <a:xfrm>
            <a:off x="7546361" y="3356225"/>
            <a:ext cx="2770512"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21CB1082-D5F3-EC3D-9274-8E0A68E9936B}"/>
              </a:ext>
            </a:extLst>
          </p:cNvPr>
          <p:cNvGrpSpPr/>
          <p:nvPr/>
        </p:nvGrpSpPr>
        <p:grpSpPr>
          <a:xfrm>
            <a:off x="6334055" y="2175838"/>
            <a:ext cx="967446" cy="967446"/>
            <a:chOff x="13148632" y="16948"/>
            <a:chExt cx="1108509" cy="1108509"/>
          </a:xfrm>
        </p:grpSpPr>
        <p:sp>
          <p:nvSpPr>
            <p:cNvPr id="93" name="Freeform: Shape 51">
              <a:extLst>
                <a:ext uri="{FF2B5EF4-FFF2-40B4-BE49-F238E27FC236}">
                  <a16:creationId xmlns:a16="http://schemas.microsoft.com/office/drawing/2014/main" id="{9E9D5455-EED1-E422-7F1B-AE461789AA3F}"/>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bg2">
                <a:lumMod val="50000"/>
              </a:schemeClr>
            </a:solidFill>
            <a:ln w="1201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4" name="Graphic 5">
              <a:extLst>
                <a:ext uri="{FF2B5EF4-FFF2-40B4-BE49-F238E27FC236}">
                  <a16:creationId xmlns:a16="http://schemas.microsoft.com/office/drawing/2014/main" id="{5F3C9233-8755-F19B-2E59-BE547E0E06A3}"/>
                </a:ext>
              </a:extLst>
            </p:cNvPr>
            <p:cNvGrpSpPr/>
            <p:nvPr/>
          </p:nvGrpSpPr>
          <p:grpSpPr>
            <a:xfrm>
              <a:off x="13422952" y="219079"/>
              <a:ext cx="564682" cy="573505"/>
              <a:chOff x="13422952" y="219079"/>
              <a:chExt cx="564682" cy="573505"/>
            </a:xfrm>
          </p:grpSpPr>
          <p:sp>
            <p:nvSpPr>
              <p:cNvPr id="95" name="Freeform: Shape 53">
                <a:extLst>
                  <a:ext uri="{FF2B5EF4-FFF2-40B4-BE49-F238E27FC236}">
                    <a16:creationId xmlns:a16="http://schemas.microsoft.com/office/drawing/2014/main" id="{9F1AE6A7-2B0B-DE1A-BDF3-E2B65FCF884A}"/>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54">
                <a:extLst>
                  <a:ext uri="{FF2B5EF4-FFF2-40B4-BE49-F238E27FC236}">
                    <a16:creationId xmlns:a16="http://schemas.microsoft.com/office/drawing/2014/main" id="{722E21A1-107E-C45B-5448-1CEECFA4C95E}"/>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55">
                <a:extLst>
                  <a:ext uri="{FF2B5EF4-FFF2-40B4-BE49-F238E27FC236}">
                    <a16:creationId xmlns:a16="http://schemas.microsoft.com/office/drawing/2014/main" id="{BC71644C-9653-8083-F71F-390883FE515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56">
                <a:extLst>
                  <a:ext uri="{FF2B5EF4-FFF2-40B4-BE49-F238E27FC236}">
                    <a16:creationId xmlns:a16="http://schemas.microsoft.com/office/drawing/2014/main" id="{3838BAB3-C89A-CEF9-99D3-22563D1F5804}"/>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57">
                <a:extLst>
                  <a:ext uri="{FF2B5EF4-FFF2-40B4-BE49-F238E27FC236}">
                    <a16:creationId xmlns:a16="http://schemas.microsoft.com/office/drawing/2014/main" id="{048BAE0D-EC2E-1E9F-D621-7B1BEAA9A1D3}"/>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58">
                <a:extLst>
                  <a:ext uri="{FF2B5EF4-FFF2-40B4-BE49-F238E27FC236}">
                    <a16:creationId xmlns:a16="http://schemas.microsoft.com/office/drawing/2014/main" id="{FFDD2210-D2BC-D72C-2518-9FAF8068AF37}"/>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59">
                <a:extLst>
                  <a:ext uri="{FF2B5EF4-FFF2-40B4-BE49-F238E27FC236}">
                    <a16:creationId xmlns:a16="http://schemas.microsoft.com/office/drawing/2014/main" id="{A030F361-0331-F58E-D573-2710AAEAD959}"/>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60">
                <a:extLst>
                  <a:ext uri="{FF2B5EF4-FFF2-40B4-BE49-F238E27FC236}">
                    <a16:creationId xmlns:a16="http://schemas.microsoft.com/office/drawing/2014/main" id="{E838C2B8-884F-4D5D-EB35-6228800CAB9E}"/>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61">
                <a:extLst>
                  <a:ext uri="{FF2B5EF4-FFF2-40B4-BE49-F238E27FC236}">
                    <a16:creationId xmlns:a16="http://schemas.microsoft.com/office/drawing/2014/main" id="{61E63141-814F-FBA9-7A9A-7CB588BA6C51}"/>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62">
                <a:extLst>
                  <a:ext uri="{FF2B5EF4-FFF2-40B4-BE49-F238E27FC236}">
                    <a16:creationId xmlns:a16="http://schemas.microsoft.com/office/drawing/2014/main" id="{C590A4DE-D936-F15D-84E5-428CAD33D703}"/>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63">
                <a:extLst>
                  <a:ext uri="{FF2B5EF4-FFF2-40B4-BE49-F238E27FC236}">
                    <a16:creationId xmlns:a16="http://schemas.microsoft.com/office/drawing/2014/main" id="{7244F84B-F7CE-CE44-7D01-DEC670E19AF0}"/>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06" name="Graphic 5">
            <a:extLst>
              <a:ext uri="{FF2B5EF4-FFF2-40B4-BE49-F238E27FC236}">
                <a16:creationId xmlns:a16="http://schemas.microsoft.com/office/drawing/2014/main" id="{C6A6E056-D0BD-A287-7B76-09526C3BC6A5}"/>
              </a:ext>
            </a:extLst>
          </p:cNvPr>
          <p:cNvGrpSpPr/>
          <p:nvPr/>
        </p:nvGrpSpPr>
        <p:grpSpPr>
          <a:xfrm>
            <a:off x="2083459" y="2128585"/>
            <a:ext cx="967446" cy="967446"/>
            <a:chOff x="13954748" y="2124079"/>
            <a:chExt cx="1108509" cy="1108509"/>
          </a:xfrm>
        </p:grpSpPr>
        <p:sp>
          <p:nvSpPr>
            <p:cNvPr id="107" name="Freeform: Shape 65">
              <a:extLst>
                <a:ext uri="{FF2B5EF4-FFF2-40B4-BE49-F238E27FC236}">
                  <a16:creationId xmlns:a16="http://schemas.microsoft.com/office/drawing/2014/main" id="{63E35325-6BC0-8CA7-3D30-01D103E84318}"/>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08" name="Graphic 5">
              <a:extLst>
                <a:ext uri="{FF2B5EF4-FFF2-40B4-BE49-F238E27FC236}">
                  <a16:creationId xmlns:a16="http://schemas.microsoft.com/office/drawing/2014/main" id="{CFE87A7F-4068-C6F2-0CDF-7ACE4F1D1CA3}"/>
                </a:ext>
              </a:extLst>
            </p:cNvPr>
            <p:cNvGrpSpPr/>
            <p:nvPr/>
          </p:nvGrpSpPr>
          <p:grpSpPr>
            <a:xfrm>
              <a:off x="14211422" y="2428879"/>
              <a:ext cx="611204" cy="413084"/>
              <a:chOff x="14211422" y="2428879"/>
              <a:chExt cx="611204" cy="413084"/>
            </a:xfrm>
          </p:grpSpPr>
          <p:grpSp>
            <p:nvGrpSpPr>
              <p:cNvPr id="109" name="Graphic 5">
                <a:extLst>
                  <a:ext uri="{FF2B5EF4-FFF2-40B4-BE49-F238E27FC236}">
                    <a16:creationId xmlns:a16="http://schemas.microsoft.com/office/drawing/2014/main" id="{B8506A81-E48D-8ABC-1B22-32543A612839}"/>
                  </a:ext>
                </a:extLst>
              </p:cNvPr>
              <p:cNvGrpSpPr/>
              <p:nvPr/>
            </p:nvGrpSpPr>
            <p:grpSpPr>
              <a:xfrm>
                <a:off x="14386280" y="2428879"/>
                <a:ext cx="266299" cy="412282"/>
                <a:chOff x="14386280" y="2428879"/>
                <a:chExt cx="266299" cy="412282"/>
              </a:xfrm>
              <a:solidFill>
                <a:srgbClr val="0078D4"/>
              </a:solidFill>
            </p:grpSpPr>
            <p:sp>
              <p:nvSpPr>
                <p:cNvPr id="116" name="Freeform: Shape 68">
                  <a:extLst>
                    <a:ext uri="{FF2B5EF4-FFF2-40B4-BE49-F238E27FC236}">
                      <a16:creationId xmlns:a16="http://schemas.microsoft.com/office/drawing/2014/main" id="{4680AB49-3214-5AD4-2301-6972667E4FA8}"/>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69">
                  <a:extLst>
                    <a:ext uri="{FF2B5EF4-FFF2-40B4-BE49-F238E27FC236}">
                      <a16:creationId xmlns:a16="http://schemas.microsoft.com/office/drawing/2014/main" id="{8EEBA322-B34A-15A4-A8DF-7B3B4BCAE318}"/>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0" name="Graphic 5">
                <a:extLst>
                  <a:ext uri="{FF2B5EF4-FFF2-40B4-BE49-F238E27FC236}">
                    <a16:creationId xmlns:a16="http://schemas.microsoft.com/office/drawing/2014/main" id="{7A079BAB-B5A2-1D81-5E87-1B184808703C}"/>
                  </a:ext>
                </a:extLst>
              </p:cNvPr>
              <p:cNvGrpSpPr/>
              <p:nvPr/>
            </p:nvGrpSpPr>
            <p:grpSpPr>
              <a:xfrm>
                <a:off x="14556327" y="2509089"/>
                <a:ext cx="266299" cy="332873"/>
                <a:chOff x="14556327" y="2509089"/>
                <a:chExt cx="266299" cy="332873"/>
              </a:xfrm>
              <a:solidFill>
                <a:srgbClr val="50E6FF"/>
              </a:solidFill>
            </p:grpSpPr>
            <p:sp>
              <p:nvSpPr>
                <p:cNvPr id="114" name="Freeform: Shape 71">
                  <a:extLst>
                    <a:ext uri="{FF2B5EF4-FFF2-40B4-BE49-F238E27FC236}">
                      <a16:creationId xmlns:a16="http://schemas.microsoft.com/office/drawing/2014/main" id="{1BD569FE-867A-2679-D654-C9059F655EF1}"/>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72">
                  <a:extLst>
                    <a:ext uri="{FF2B5EF4-FFF2-40B4-BE49-F238E27FC236}">
                      <a16:creationId xmlns:a16="http://schemas.microsoft.com/office/drawing/2014/main" id="{36665DCE-5FC3-C28D-F152-DDC4F53537A5}"/>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1" name="Graphic 5">
                <a:extLst>
                  <a:ext uri="{FF2B5EF4-FFF2-40B4-BE49-F238E27FC236}">
                    <a16:creationId xmlns:a16="http://schemas.microsoft.com/office/drawing/2014/main" id="{31A79C33-7078-0E6E-F2B8-A7745E5266DB}"/>
                  </a:ext>
                </a:extLst>
              </p:cNvPr>
              <p:cNvGrpSpPr/>
              <p:nvPr/>
            </p:nvGrpSpPr>
            <p:grpSpPr>
              <a:xfrm>
                <a:off x="14211422" y="2509089"/>
                <a:ext cx="266299" cy="332873"/>
                <a:chOff x="14211422" y="2509089"/>
                <a:chExt cx="266299" cy="332873"/>
              </a:xfrm>
              <a:solidFill>
                <a:srgbClr val="50E6FF"/>
              </a:solidFill>
            </p:grpSpPr>
            <p:sp>
              <p:nvSpPr>
                <p:cNvPr id="112" name="Freeform: Shape 74">
                  <a:extLst>
                    <a:ext uri="{FF2B5EF4-FFF2-40B4-BE49-F238E27FC236}">
                      <a16:creationId xmlns:a16="http://schemas.microsoft.com/office/drawing/2014/main" id="{84F1F936-3D36-C7E7-7E3C-7E9A57F220D2}"/>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75">
                  <a:extLst>
                    <a:ext uri="{FF2B5EF4-FFF2-40B4-BE49-F238E27FC236}">
                      <a16:creationId xmlns:a16="http://schemas.microsoft.com/office/drawing/2014/main" id="{2EEA1B4A-F0F7-FFF3-5746-4B489958EBC5}"/>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118" name="Freeform: Shape 1">
            <a:extLst>
              <a:ext uri="{FF2B5EF4-FFF2-40B4-BE49-F238E27FC236}">
                <a16:creationId xmlns:a16="http://schemas.microsoft.com/office/drawing/2014/main" id="{5AB9A2C0-A8D3-B112-F4F6-0835DFC25D6D}"/>
              </a:ext>
            </a:extLst>
          </p:cNvPr>
          <p:cNvSpPr/>
          <p:nvPr/>
        </p:nvSpPr>
        <p:spPr>
          <a:xfrm>
            <a:off x="3280832" y="2154944"/>
            <a:ext cx="2501120"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lang="en-US" sz="2000" dirty="0">
                <a:solidFill>
                  <a:srgbClr val="FFFFFF"/>
                </a:solidFill>
                <a:latin typeface="Segoe UI"/>
              </a:rPr>
              <a:t>Azure Billing &amp; AD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19" name="Graphic 5">
            <a:extLst>
              <a:ext uri="{FF2B5EF4-FFF2-40B4-BE49-F238E27FC236}">
                <a16:creationId xmlns:a16="http://schemas.microsoft.com/office/drawing/2014/main" id="{185EBDCE-B82D-BD1C-0A8F-532DE9AE7615}"/>
              </a:ext>
            </a:extLst>
          </p:cNvPr>
          <p:cNvGrpSpPr/>
          <p:nvPr/>
        </p:nvGrpSpPr>
        <p:grpSpPr>
          <a:xfrm>
            <a:off x="2083459" y="3282613"/>
            <a:ext cx="967446" cy="967446"/>
            <a:chOff x="8163548" y="2124079"/>
            <a:chExt cx="1108509" cy="1108509"/>
          </a:xfrm>
        </p:grpSpPr>
        <p:sp>
          <p:nvSpPr>
            <p:cNvPr id="120" name="Freeform: Shape 137">
              <a:extLst>
                <a:ext uri="{FF2B5EF4-FFF2-40B4-BE49-F238E27FC236}">
                  <a16:creationId xmlns:a16="http://schemas.microsoft.com/office/drawing/2014/main" id="{40864612-655C-15D3-B979-AE7AC4F8118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1" name="Graphic 5">
              <a:extLst>
                <a:ext uri="{FF2B5EF4-FFF2-40B4-BE49-F238E27FC236}">
                  <a16:creationId xmlns:a16="http://schemas.microsoft.com/office/drawing/2014/main" id="{C4D9EB49-9326-0138-E76A-14062AA74E41}"/>
                </a:ext>
              </a:extLst>
            </p:cNvPr>
            <p:cNvGrpSpPr/>
            <p:nvPr/>
          </p:nvGrpSpPr>
          <p:grpSpPr>
            <a:xfrm>
              <a:off x="8421826" y="2454547"/>
              <a:ext cx="591151" cy="443563"/>
              <a:chOff x="8421826" y="2454547"/>
              <a:chExt cx="591151" cy="443563"/>
            </a:xfrm>
          </p:grpSpPr>
          <p:sp>
            <p:nvSpPr>
              <p:cNvPr id="122" name="Freeform: Shape 139">
                <a:extLst>
                  <a:ext uri="{FF2B5EF4-FFF2-40B4-BE49-F238E27FC236}">
                    <a16:creationId xmlns:a16="http://schemas.microsoft.com/office/drawing/2014/main" id="{B0B097F2-1C53-A85C-5AE8-37ACD70CE9C0}"/>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40">
                <a:extLst>
                  <a:ext uri="{FF2B5EF4-FFF2-40B4-BE49-F238E27FC236}">
                    <a16:creationId xmlns:a16="http://schemas.microsoft.com/office/drawing/2014/main" id="{07B6D712-9DA7-90D8-511B-504BF225C970}"/>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accent3"/>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4" name="Graphic 5">
                <a:extLst>
                  <a:ext uri="{FF2B5EF4-FFF2-40B4-BE49-F238E27FC236}">
                    <a16:creationId xmlns:a16="http://schemas.microsoft.com/office/drawing/2014/main" id="{BA891003-6B43-28F0-1F55-1C548F6D9807}"/>
                  </a:ext>
                </a:extLst>
              </p:cNvPr>
              <p:cNvGrpSpPr/>
              <p:nvPr/>
            </p:nvGrpSpPr>
            <p:grpSpPr>
              <a:xfrm>
                <a:off x="8472359" y="2606946"/>
                <a:ext cx="218172" cy="245444"/>
                <a:chOff x="8472359" y="2606946"/>
                <a:chExt cx="218172" cy="245444"/>
              </a:xfrm>
              <a:solidFill>
                <a:srgbClr val="0078D4"/>
              </a:solidFill>
            </p:grpSpPr>
            <p:sp>
              <p:nvSpPr>
                <p:cNvPr id="128" name="Freeform: Shape 142">
                  <a:extLst>
                    <a:ext uri="{FF2B5EF4-FFF2-40B4-BE49-F238E27FC236}">
                      <a16:creationId xmlns:a16="http://schemas.microsoft.com/office/drawing/2014/main" id="{DC888C23-B8D8-8057-FDAC-80958571648B}"/>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Freeform: Shape 143">
                  <a:extLst>
                    <a:ext uri="{FF2B5EF4-FFF2-40B4-BE49-F238E27FC236}">
                      <a16:creationId xmlns:a16="http://schemas.microsoft.com/office/drawing/2014/main" id="{21C4B6D7-C8E7-3EC2-488E-5743FD6670A5}"/>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5" name="Freeform: Shape 144">
                <a:extLst>
                  <a:ext uri="{FF2B5EF4-FFF2-40B4-BE49-F238E27FC236}">
                    <a16:creationId xmlns:a16="http://schemas.microsoft.com/office/drawing/2014/main" id="{5F9139A0-1FC4-642B-E422-3C78BFFF977A}"/>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45">
                <a:extLst>
                  <a:ext uri="{FF2B5EF4-FFF2-40B4-BE49-F238E27FC236}">
                    <a16:creationId xmlns:a16="http://schemas.microsoft.com/office/drawing/2014/main" id="{296786A2-268D-2521-05A5-42FC5250E921}"/>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46">
                <a:extLst>
                  <a:ext uri="{FF2B5EF4-FFF2-40B4-BE49-F238E27FC236}">
                    <a16:creationId xmlns:a16="http://schemas.microsoft.com/office/drawing/2014/main" id="{81C43C2F-ACE4-CDC9-9CF5-436247EBFE8B}"/>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30" name="Freeform: Shape 2">
            <a:extLst>
              <a:ext uri="{FF2B5EF4-FFF2-40B4-BE49-F238E27FC236}">
                <a16:creationId xmlns:a16="http://schemas.microsoft.com/office/drawing/2014/main" id="{5F1DD6A4-5C29-58AE-568C-C93BB022673E}"/>
              </a:ext>
            </a:extLst>
          </p:cNvPr>
          <p:cNvSpPr/>
          <p:nvPr/>
        </p:nvSpPr>
        <p:spPr>
          <a:xfrm>
            <a:off x="3280831" y="3288079"/>
            <a:ext cx="2156147" cy="97740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1" name="Graphic 5">
            <a:extLst>
              <a:ext uri="{FF2B5EF4-FFF2-40B4-BE49-F238E27FC236}">
                <a16:creationId xmlns:a16="http://schemas.microsoft.com/office/drawing/2014/main" id="{527E9955-3D74-071F-14D9-883AC2614717}"/>
              </a:ext>
            </a:extLst>
          </p:cNvPr>
          <p:cNvGrpSpPr/>
          <p:nvPr/>
        </p:nvGrpSpPr>
        <p:grpSpPr>
          <a:xfrm>
            <a:off x="2083459" y="5606098"/>
            <a:ext cx="967446" cy="967446"/>
            <a:chOff x="9025811" y="16948"/>
            <a:chExt cx="1108509" cy="1108509"/>
          </a:xfrm>
        </p:grpSpPr>
        <p:sp>
          <p:nvSpPr>
            <p:cNvPr id="132" name="Freeform: Shape 14">
              <a:extLst>
                <a:ext uri="{FF2B5EF4-FFF2-40B4-BE49-F238E27FC236}">
                  <a16:creationId xmlns:a16="http://schemas.microsoft.com/office/drawing/2014/main" id="{5820589C-9DFB-D052-CCC7-683B48BD5894}"/>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bg2">
                <a:lumMod val="50000"/>
              </a:schemeClr>
            </a:solidFill>
            <a:ln w="1201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3" name="Graphic 5">
              <a:extLst>
                <a:ext uri="{FF2B5EF4-FFF2-40B4-BE49-F238E27FC236}">
                  <a16:creationId xmlns:a16="http://schemas.microsoft.com/office/drawing/2014/main" id="{AEA6B352-73E2-68EA-6F59-94E0046F72E7}"/>
                </a:ext>
              </a:extLst>
            </p:cNvPr>
            <p:cNvGrpSpPr/>
            <p:nvPr/>
          </p:nvGrpSpPr>
          <p:grpSpPr>
            <a:xfrm>
              <a:off x="9211900" y="210256"/>
              <a:ext cx="730717" cy="730717"/>
              <a:chOff x="9211900" y="210256"/>
              <a:chExt cx="730717" cy="730717"/>
            </a:xfrm>
          </p:grpSpPr>
          <p:sp>
            <p:nvSpPr>
              <p:cNvPr id="134" name="Freeform: Shape 16">
                <a:extLst>
                  <a:ext uri="{FF2B5EF4-FFF2-40B4-BE49-F238E27FC236}">
                    <a16:creationId xmlns:a16="http://schemas.microsoft.com/office/drawing/2014/main" id="{69E6ED45-1C93-8DDC-D8E3-F75935CA8999}"/>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17">
                <a:extLst>
                  <a:ext uri="{FF2B5EF4-FFF2-40B4-BE49-F238E27FC236}">
                    <a16:creationId xmlns:a16="http://schemas.microsoft.com/office/drawing/2014/main" id="{18BAC7F9-D514-4836-E13B-991BF18A787F}"/>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8">
                <a:extLst>
                  <a:ext uri="{FF2B5EF4-FFF2-40B4-BE49-F238E27FC236}">
                    <a16:creationId xmlns:a16="http://schemas.microsoft.com/office/drawing/2014/main" id="{DB1B7B91-3461-36AC-290D-ED2DCFDEB76E}"/>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Shape 19">
                <a:extLst>
                  <a:ext uri="{FF2B5EF4-FFF2-40B4-BE49-F238E27FC236}">
                    <a16:creationId xmlns:a16="http://schemas.microsoft.com/office/drawing/2014/main" id="{3DA54AAE-4ECE-0AF0-9431-EA3E95918A38}"/>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20">
                <a:extLst>
                  <a:ext uri="{FF2B5EF4-FFF2-40B4-BE49-F238E27FC236}">
                    <a16:creationId xmlns:a16="http://schemas.microsoft.com/office/drawing/2014/main" id="{0D905F02-3B30-52FA-77ED-231117AD53FF}"/>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21">
                <a:extLst>
                  <a:ext uri="{FF2B5EF4-FFF2-40B4-BE49-F238E27FC236}">
                    <a16:creationId xmlns:a16="http://schemas.microsoft.com/office/drawing/2014/main" id="{BA7CA94D-E466-78B4-C068-D59A92C340E0}"/>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Freeform: Shape 22">
                <a:extLst>
                  <a:ext uri="{FF2B5EF4-FFF2-40B4-BE49-F238E27FC236}">
                    <a16:creationId xmlns:a16="http://schemas.microsoft.com/office/drawing/2014/main" id="{CA016892-EDF5-B255-FD3A-D04C20B4913A}"/>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23">
                <a:extLst>
                  <a:ext uri="{FF2B5EF4-FFF2-40B4-BE49-F238E27FC236}">
                    <a16:creationId xmlns:a16="http://schemas.microsoft.com/office/drawing/2014/main" id="{84BF4719-86BE-E765-3E2A-2A70DCAADBF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Shape 24">
                <a:extLst>
                  <a:ext uri="{FF2B5EF4-FFF2-40B4-BE49-F238E27FC236}">
                    <a16:creationId xmlns:a16="http://schemas.microsoft.com/office/drawing/2014/main" id="{30B8A513-1D76-B2E0-9E58-9A1CC96C7463}"/>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Shape 25">
                <a:extLst>
                  <a:ext uri="{FF2B5EF4-FFF2-40B4-BE49-F238E27FC236}">
                    <a16:creationId xmlns:a16="http://schemas.microsoft.com/office/drawing/2014/main" id="{166D137C-8268-2AA0-79F7-26DFFAA95656}"/>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26">
                <a:extLst>
                  <a:ext uri="{FF2B5EF4-FFF2-40B4-BE49-F238E27FC236}">
                    <a16:creationId xmlns:a16="http://schemas.microsoft.com/office/drawing/2014/main" id="{6DFB86CF-7444-4E4A-C6AA-3597B6017D8D}"/>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27">
                <a:extLst>
                  <a:ext uri="{FF2B5EF4-FFF2-40B4-BE49-F238E27FC236}">
                    <a16:creationId xmlns:a16="http://schemas.microsoft.com/office/drawing/2014/main" id="{E03B4B41-DF21-EE49-7369-9A5C9187038F}"/>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28">
                <a:extLst>
                  <a:ext uri="{FF2B5EF4-FFF2-40B4-BE49-F238E27FC236}">
                    <a16:creationId xmlns:a16="http://schemas.microsoft.com/office/drawing/2014/main" id="{024FA88D-6EE0-2E7D-64C6-D2417F7B09ED}"/>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47" name="Freeform: Shape 154">
            <a:extLst>
              <a:ext uri="{FF2B5EF4-FFF2-40B4-BE49-F238E27FC236}">
                <a16:creationId xmlns:a16="http://schemas.microsoft.com/office/drawing/2014/main" id="{E25CC6CE-B3C1-9881-88C8-5FF5C49D9EC1}"/>
              </a:ext>
            </a:extLst>
          </p:cNvPr>
          <p:cNvSpPr/>
          <p:nvPr/>
        </p:nvSpPr>
        <p:spPr>
          <a:xfrm>
            <a:off x="3280832" y="5632457"/>
            <a:ext cx="2156148"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TextBox 155">
            <a:extLst>
              <a:ext uri="{FF2B5EF4-FFF2-40B4-BE49-F238E27FC236}">
                <a16:creationId xmlns:a16="http://schemas.microsoft.com/office/drawing/2014/main" id="{6B013056-C23F-53EC-9381-9185D47B0CC9}"/>
              </a:ext>
            </a:extLst>
          </p:cNvPr>
          <p:cNvSpPr txBox="1"/>
          <p:nvPr/>
        </p:nvSpPr>
        <p:spPr>
          <a:xfrm>
            <a:off x="1759026" y="1684263"/>
            <a:ext cx="2981201" cy="307777"/>
          </a:xfrm>
          <a:prstGeom prst="rect">
            <a:avLst/>
          </a:prstGeom>
          <a:noFill/>
        </p:spPr>
        <p:txBody>
          <a:bodyPr wrap="none" lIns="0" tIns="0" rIns="0" bIns="0" rtlCol="0">
            <a:spAutoFit/>
          </a:bodyPr>
          <a:lstStyle/>
          <a:p>
            <a:pPr algn="l"/>
            <a:r>
              <a:rPr lang="en-US" sz="2000" dirty="0"/>
              <a:t>Environment Design Areas</a:t>
            </a:r>
          </a:p>
        </p:txBody>
      </p:sp>
      <p:sp>
        <p:nvSpPr>
          <p:cNvPr id="149" name="Freeform: Shape 8">
            <a:extLst>
              <a:ext uri="{FF2B5EF4-FFF2-40B4-BE49-F238E27FC236}">
                <a16:creationId xmlns:a16="http://schemas.microsoft.com/office/drawing/2014/main" id="{CAD988A0-5CB2-F855-E74D-30A3D0B4B6EB}"/>
              </a:ext>
            </a:extLst>
          </p:cNvPr>
          <p:cNvSpPr/>
          <p:nvPr/>
        </p:nvSpPr>
        <p:spPr>
          <a:xfrm>
            <a:off x="7546361" y="2202197"/>
            <a:ext cx="3201221" cy="91472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Securit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06264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0694B4-B1E7-42A5-A1EB-ED3090C99543}"/>
              </a:ext>
            </a:extLst>
          </p:cNvPr>
          <p:cNvSpPr/>
          <p:nvPr/>
        </p:nvSpPr>
        <p:spPr bwMode="auto">
          <a:xfrm>
            <a:off x="905118" y="4013348"/>
            <a:ext cx="10509250" cy="20892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grpSp>
        <p:nvGrpSpPr>
          <p:cNvPr id="77" name="Graphic 5">
            <a:extLst>
              <a:ext uri="{FF2B5EF4-FFF2-40B4-BE49-F238E27FC236}">
                <a16:creationId xmlns:a16="http://schemas.microsoft.com/office/drawing/2014/main" id="{70DDC97A-A5D5-4C58-826F-70469F9FB790}"/>
              </a:ext>
            </a:extLst>
          </p:cNvPr>
          <p:cNvGrpSpPr/>
          <p:nvPr/>
        </p:nvGrpSpPr>
        <p:grpSpPr>
          <a:xfrm>
            <a:off x="9235377" y="4334335"/>
            <a:ext cx="967446" cy="967446"/>
            <a:chOff x="13148632" y="4139769"/>
            <a:chExt cx="1108509" cy="1108509"/>
          </a:xfrm>
        </p:grpSpPr>
        <p:sp>
          <p:nvSpPr>
            <p:cNvPr id="78" name="Freeform: Shape 77">
              <a:extLst>
                <a:ext uri="{FF2B5EF4-FFF2-40B4-BE49-F238E27FC236}">
                  <a16:creationId xmlns:a16="http://schemas.microsoft.com/office/drawing/2014/main" id="{BA1C07F0-30B0-4A90-BAC4-CD7604E2FACA}"/>
                </a:ext>
              </a:extLst>
            </p:cNvPr>
            <p:cNvSpPr/>
            <p:nvPr/>
          </p:nvSpPr>
          <p:spPr>
            <a:xfrm>
              <a:off x="13148632"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a:solidFill>
                  <a:srgbClr val="FFFFFF"/>
                </a:solidFill>
                <a:latin typeface="Segoe UI"/>
              </a:endParaRPr>
            </a:p>
          </p:txBody>
        </p:sp>
        <p:grpSp>
          <p:nvGrpSpPr>
            <p:cNvPr id="79" name="Graphic 5">
              <a:extLst>
                <a:ext uri="{FF2B5EF4-FFF2-40B4-BE49-F238E27FC236}">
                  <a16:creationId xmlns:a16="http://schemas.microsoft.com/office/drawing/2014/main" id="{70DDC97A-A5D5-4C58-826F-70469F9FB790}"/>
                </a:ext>
              </a:extLst>
            </p:cNvPr>
            <p:cNvGrpSpPr/>
            <p:nvPr/>
          </p:nvGrpSpPr>
          <p:grpSpPr>
            <a:xfrm>
              <a:off x="13391670" y="4382005"/>
              <a:ext cx="625642" cy="633663"/>
              <a:chOff x="13391670" y="4382005"/>
              <a:chExt cx="625642" cy="633663"/>
            </a:xfrm>
          </p:grpSpPr>
          <p:grpSp>
            <p:nvGrpSpPr>
              <p:cNvPr id="80" name="Graphic 5">
                <a:extLst>
                  <a:ext uri="{FF2B5EF4-FFF2-40B4-BE49-F238E27FC236}">
                    <a16:creationId xmlns:a16="http://schemas.microsoft.com/office/drawing/2014/main" id="{70DDC97A-A5D5-4C58-826F-70469F9FB790}"/>
                  </a:ext>
                </a:extLst>
              </p:cNvPr>
              <p:cNvGrpSpPr/>
              <p:nvPr/>
            </p:nvGrpSpPr>
            <p:grpSpPr>
              <a:xfrm>
                <a:off x="13516799" y="4756588"/>
                <a:ext cx="258277" cy="259079"/>
                <a:chOff x="13516799" y="4756588"/>
                <a:chExt cx="258277" cy="259079"/>
              </a:xfrm>
              <a:solidFill>
                <a:srgbClr val="50E6FF"/>
              </a:solidFill>
            </p:grpSpPr>
            <p:sp>
              <p:nvSpPr>
                <p:cNvPr id="81" name="Freeform: Shape 80">
                  <a:extLst>
                    <a:ext uri="{FF2B5EF4-FFF2-40B4-BE49-F238E27FC236}">
                      <a16:creationId xmlns:a16="http://schemas.microsoft.com/office/drawing/2014/main" id="{66F8BB16-E01A-47B1-97ED-31F0C8E3A720}"/>
                    </a:ext>
                  </a:extLst>
                </p:cNvPr>
                <p:cNvSpPr/>
                <p:nvPr/>
              </p:nvSpPr>
              <p:spPr>
                <a:xfrm>
                  <a:off x="13547279" y="4756588"/>
                  <a:ext cx="227798" cy="155608"/>
                </a:xfrm>
                <a:custGeom>
                  <a:avLst/>
                  <a:gdLst>
                    <a:gd name="connsiteX0" fmla="*/ 0 w 227798"/>
                    <a:gd name="connsiteY0" fmla="*/ 155608 h 155608"/>
                    <a:gd name="connsiteX1" fmla="*/ 72991 w 227798"/>
                    <a:gd name="connsiteY1" fmla="*/ 155608 h 155608"/>
                    <a:gd name="connsiteX2" fmla="*/ 227798 w 227798"/>
                    <a:gd name="connsiteY2" fmla="*/ 802 h 155608"/>
                    <a:gd name="connsiteX3" fmla="*/ 154806 w 227798"/>
                    <a:gd name="connsiteY3" fmla="*/ 0 h 155608"/>
                    <a:gd name="connsiteX4" fmla="*/ 0 w 227798"/>
                    <a:gd name="connsiteY4" fmla="*/ 155608 h 15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8" h="155608">
                      <a:moveTo>
                        <a:pt x="0" y="155608"/>
                      </a:moveTo>
                      <a:lnTo>
                        <a:pt x="72991" y="155608"/>
                      </a:lnTo>
                      <a:lnTo>
                        <a:pt x="227798" y="802"/>
                      </a:lnTo>
                      <a:lnTo>
                        <a:pt x="154806" y="0"/>
                      </a:lnTo>
                      <a:lnTo>
                        <a:pt x="0" y="155608"/>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82" name="Freeform: Shape 81">
                  <a:extLst>
                    <a:ext uri="{FF2B5EF4-FFF2-40B4-BE49-F238E27FC236}">
                      <a16:creationId xmlns:a16="http://schemas.microsoft.com/office/drawing/2014/main" id="{2324620C-DF19-4868-9307-CE9B463D9091}"/>
                    </a:ext>
                  </a:extLst>
                </p:cNvPr>
                <p:cNvSpPr/>
                <p:nvPr/>
              </p:nvSpPr>
              <p:spPr>
                <a:xfrm>
                  <a:off x="13516799" y="4860862"/>
                  <a:ext cx="227797" cy="154806"/>
                </a:xfrm>
                <a:custGeom>
                  <a:avLst/>
                  <a:gdLst>
                    <a:gd name="connsiteX0" fmla="*/ 0 w 227797"/>
                    <a:gd name="connsiteY0" fmla="*/ 154806 h 154806"/>
                    <a:gd name="connsiteX1" fmla="*/ 72991 w 227797"/>
                    <a:gd name="connsiteY1" fmla="*/ 154806 h 154806"/>
                    <a:gd name="connsiteX2" fmla="*/ 227798 w 227797"/>
                    <a:gd name="connsiteY2" fmla="*/ 0 h 154806"/>
                    <a:gd name="connsiteX3" fmla="*/ 154806 w 227797"/>
                    <a:gd name="connsiteY3" fmla="*/ 0 h 154806"/>
                    <a:gd name="connsiteX4" fmla="*/ 0 w 227797"/>
                    <a:gd name="connsiteY4" fmla="*/ 154806 h 15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97" h="154806">
                      <a:moveTo>
                        <a:pt x="0" y="154806"/>
                      </a:moveTo>
                      <a:lnTo>
                        <a:pt x="72991" y="154806"/>
                      </a:lnTo>
                      <a:lnTo>
                        <a:pt x="227798" y="0"/>
                      </a:lnTo>
                      <a:lnTo>
                        <a:pt x="154806" y="0"/>
                      </a:lnTo>
                      <a:lnTo>
                        <a:pt x="0" y="154806"/>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83" name="Graphic 5">
                <a:extLst>
                  <a:ext uri="{FF2B5EF4-FFF2-40B4-BE49-F238E27FC236}">
                    <a16:creationId xmlns:a16="http://schemas.microsoft.com/office/drawing/2014/main" id="{70DDC97A-A5D5-4C58-826F-70469F9FB790}"/>
                  </a:ext>
                </a:extLst>
              </p:cNvPr>
              <p:cNvGrpSpPr/>
              <p:nvPr/>
            </p:nvGrpSpPr>
            <p:grpSpPr>
              <a:xfrm>
                <a:off x="13463058" y="4733327"/>
                <a:ext cx="137159" cy="137962"/>
                <a:chOff x="13463058" y="4733327"/>
                <a:chExt cx="137159" cy="137962"/>
              </a:xfrm>
              <a:solidFill>
                <a:srgbClr val="0078D4"/>
              </a:solidFill>
            </p:grpSpPr>
            <p:sp>
              <p:nvSpPr>
                <p:cNvPr id="84" name="Freeform: Shape 83">
                  <a:extLst>
                    <a:ext uri="{FF2B5EF4-FFF2-40B4-BE49-F238E27FC236}">
                      <a16:creationId xmlns:a16="http://schemas.microsoft.com/office/drawing/2014/main" id="{D3F691A1-3EF7-475F-B0BE-2BF86F4F70A6}"/>
                    </a:ext>
                  </a:extLst>
                </p:cNvPr>
                <p:cNvSpPr/>
                <p:nvPr/>
              </p:nvSpPr>
              <p:spPr>
                <a:xfrm>
                  <a:off x="13479100"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85" name="Freeform: Shape 84">
                  <a:extLst>
                    <a:ext uri="{FF2B5EF4-FFF2-40B4-BE49-F238E27FC236}">
                      <a16:creationId xmlns:a16="http://schemas.microsoft.com/office/drawing/2014/main" id="{74D3C7FF-0C0E-4573-A1A5-84BFFA3ED50B}"/>
                    </a:ext>
                  </a:extLst>
                </p:cNvPr>
                <p:cNvSpPr/>
                <p:nvPr/>
              </p:nvSpPr>
              <p:spPr>
                <a:xfrm>
                  <a:off x="13463058"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86" name="Graphic 5">
                <a:extLst>
                  <a:ext uri="{FF2B5EF4-FFF2-40B4-BE49-F238E27FC236}">
                    <a16:creationId xmlns:a16="http://schemas.microsoft.com/office/drawing/2014/main" id="{70DDC97A-A5D5-4C58-826F-70469F9FB790}"/>
                  </a:ext>
                </a:extLst>
              </p:cNvPr>
              <p:cNvGrpSpPr/>
              <p:nvPr/>
            </p:nvGrpSpPr>
            <p:grpSpPr>
              <a:xfrm>
                <a:off x="13775879" y="4733327"/>
                <a:ext cx="137159" cy="137962"/>
                <a:chOff x="13775879" y="4733327"/>
                <a:chExt cx="137159" cy="137962"/>
              </a:xfrm>
              <a:solidFill>
                <a:srgbClr val="0078D4"/>
              </a:solidFill>
            </p:grpSpPr>
            <p:sp>
              <p:nvSpPr>
                <p:cNvPr id="87" name="Freeform: Shape 86">
                  <a:extLst>
                    <a:ext uri="{FF2B5EF4-FFF2-40B4-BE49-F238E27FC236}">
                      <a16:creationId xmlns:a16="http://schemas.microsoft.com/office/drawing/2014/main" id="{82F81B47-6AE3-4160-A9F8-F712184BE9C6}"/>
                    </a:ext>
                  </a:extLst>
                </p:cNvPr>
                <p:cNvSpPr/>
                <p:nvPr/>
              </p:nvSpPr>
              <p:spPr>
                <a:xfrm>
                  <a:off x="13791921" y="4733327"/>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88" name="Freeform: Shape 87">
                  <a:extLst>
                    <a:ext uri="{FF2B5EF4-FFF2-40B4-BE49-F238E27FC236}">
                      <a16:creationId xmlns:a16="http://schemas.microsoft.com/office/drawing/2014/main" id="{23D7196D-A4AF-462C-A9DD-DDD8397F2B12}"/>
                    </a:ext>
                  </a:extLst>
                </p:cNvPr>
                <p:cNvSpPr/>
                <p:nvPr/>
              </p:nvSpPr>
              <p:spPr>
                <a:xfrm>
                  <a:off x="13775879" y="4788673"/>
                  <a:ext cx="121117" cy="82616"/>
                </a:xfrm>
                <a:custGeom>
                  <a:avLst/>
                  <a:gdLst>
                    <a:gd name="connsiteX0" fmla="*/ 0 w 121117"/>
                    <a:gd name="connsiteY0" fmla="*/ 82617 h 82616"/>
                    <a:gd name="connsiteX1" fmla="*/ 38501 w 121117"/>
                    <a:gd name="connsiteY1" fmla="*/ 82617 h 82616"/>
                    <a:gd name="connsiteX2" fmla="*/ 121118 w 121117"/>
                    <a:gd name="connsiteY2" fmla="*/ 0 h 82616"/>
                    <a:gd name="connsiteX3" fmla="*/ 82617 w 121117"/>
                    <a:gd name="connsiteY3" fmla="*/ 0 h 82616"/>
                    <a:gd name="connsiteX4" fmla="*/ 0 w 121117"/>
                    <a:gd name="connsiteY4" fmla="*/ 82617 h 8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7" h="82616">
                      <a:moveTo>
                        <a:pt x="0" y="82617"/>
                      </a:moveTo>
                      <a:lnTo>
                        <a:pt x="38501" y="82617"/>
                      </a:lnTo>
                      <a:lnTo>
                        <a:pt x="121118" y="0"/>
                      </a:lnTo>
                      <a:lnTo>
                        <a:pt x="82617" y="0"/>
                      </a:lnTo>
                      <a:lnTo>
                        <a:pt x="0" y="82617"/>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sp>
            <p:nvSpPr>
              <p:cNvPr id="89" name="Freeform: Shape 88">
                <a:extLst>
                  <a:ext uri="{FF2B5EF4-FFF2-40B4-BE49-F238E27FC236}">
                    <a16:creationId xmlns:a16="http://schemas.microsoft.com/office/drawing/2014/main" id="{F023B95B-A563-439A-B040-2DE9E0A6475E}"/>
                  </a:ext>
                </a:extLst>
              </p:cNvPr>
              <p:cNvSpPr/>
              <p:nvPr/>
            </p:nvSpPr>
            <p:spPr>
              <a:xfrm>
                <a:off x="13391670" y="4382005"/>
                <a:ext cx="625642" cy="385010"/>
              </a:xfrm>
              <a:custGeom>
                <a:avLst/>
                <a:gdLst>
                  <a:gd name="connsiteX0" fmla="*/ 554255 w 625642"/>
                  <a:gd name="connsiteY0" fmla="*/ 240632 h 385010"/>
                  <a:gd name="connsiteX1" fmla="*/ 553453 w 625642"/>
                  <a:gd name="connsiteY1" fmla="*/ 240632 h 385010"/>
                  <a:gd name="connsiteX2" fmla="*/ 562276 w 625642"/>
                  <a:gd name="connsiteY2" fmla="*/ 192505 h 385010"/>
                  <a:gd name="connsiteX3" fmla="*/ 437147 w 625642"/>
                  <a:gd name="connsiteY3" fmla="*/ 64168 h 385010"/>
                  <a:gd name="connsiteX4" fmla="*/ 395438 w 625642"/>
                  <a:gd name="connsiteY4" fmla="*/ 71388 h 385010"/>
                  <a:gd name="connsiteX5" fmla="*/ 249455 w 625642"/>
                  <a:gd name="connsiteY5" fmla="*/ 0 h 385010"/>
                  <a:gd name="connsiteX6" fmla="*/ 61762 w 625642"/>
                  <a:gd name="connsiteY6" fmla="*/ 192505 h 385010"/>
                  <a:gd name="connsiteX7" fmla="*/ 68179 w 625642"/>
                  <a:gd name="connsiteY7" fmla="*/ 240632 h 385010"/>
                  <a:gd name="connsiteX8" fmla="*/ 0 w 625642"/>
                  <a:gd name="connsiteY8" fmla="*/ 312821 h 385010"/>
                  <a:gd name="connsiteX9" fmla="*/ 70586 w 625642"/>
                  <a:gd name="connsiteY9" fmla="*/ 385011 h 385010"/>
                  <a:gd name="connsiteX10" fmla="*/ 555057 w 625642"/>
                  <a:gd name="connsiteY10" fmla="*/ 385011 h 385010"/>
                  <a:gd name="connsiteX11" fmla="*/ 625642 w 625642"/>
                  <a:gd name="connsiteY11" fmla="*/ 312821 h 385010"/>
                  <a:gd name="connsiteX12" fmla="*/ 554255 w 625642"/>
                  <a:gd name="connsiteY12" fmla="*/ 240632 h 38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5642" h="385010">
                    <a:moveTo>
                      <a:pt x="554255" y="240632"/>
                    </a:moveTo>
                    <a:lnTo>
                      <a:pt x="553453" y="240632"/>
                    </a:lnTo>
                    <a:cubicBezTo>
                      <a:pt x="559067" y="225391"/>
                      <a:pt x="562276" y="209349"/>
                      <a:pt x="562276" y="192505"/>
                    </a:cubicBezTo>
                    <a:cubicBezTo>
                      <a:pt x="562276" y="121920"/>
                      <a:pt x="506129" y="64168"/>
                      <a:pt x="437147" y="64168"/>
                    </a:cubicBezTo>
                    <a:cubicBezTo>
                      <a:pt x="422710" y="64168"/>
                      <a:pt x="408272" y="67377"/>
                      <a:pt x="395438" y="71388"/>
                    </a:cubicBezTo>
                    <a:cubicBezTo>
                      <a:pt x="360947" y="27272"/>
                      <a:pt x="308009" y="0"/>
                      <a:pt x="249455" y="0"/>
                    </a:cubicBezTo>
                    <a:cubicBezTo>
                      <a:pt x="145983" y="0"/>
                      <a:pt x="61762" y="85825"/>
                      <a:pt x="61762" y="192505"/>
                    </a:cubicBezTo>
                    <a:cubicBezTo>
                      <a:pt x="61762" y="209349"/>
                      <a:pt x="64168" y="225391"/>
                      <a:pt x="68179" y="240632"/>
                    </a:cubicBezTo>
                    <a:cubicBezTo>
                      <a:pt x="30480" y="241433"/>
                      <a:pt x="0" y="272716"/>
                      <a:pt x="0" y="312821"/>
                    </a:cubicBezTo>
                    <a:cubicBezTo>
                      <a:pt x="0" y="352926"/>
                      <a:pt x="31282" y="385011"/>
                      <a:pt x="70586" y="385011"/>
                    </a:cubicBezTo>
                    <a:lnTo>
                      <a:pt x="555057" y="385011"/>
                    </a:lnTo>
                    <a:cubicBezTo>
                      <a:pt x="594360" y="385011"/>
                      <a:pt x="625642" y="352926"/>
                      <a:pt x="625642" y="312821"/>
                    </a:cubicBezTo>
                    <a:cubicBezTo>
                      <a:pt x="625642" y="272716"/>
                      <a:pt x="593558" y="240632"/>
                      <a:pt x="554255" y="240632"/>
                    </a:cubicBezTo>
                    <a:close/>
                  </a:path>
                </a:pathLst>
              </a:custGeom>
              <a:solidFill>
                <a:schemeClr val="tx1"/>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nvGrpSpPr>
          <p:cNvPr id="51" name="Graphic 5">
            <a:extLst>
              <a:ext uri="{FF2B5EF4-FFF2-40B4-BE49-F238E27FC236}">
                <a16:creationId xmlns:a16="http://schemas.microsoft.com/office/drawing/2014/main" id="{70DDC97A-A5D5-4C58-826F-70469F9FB790}"/>
              </a:ext>
            </a:extLst>
          </p:cNvPr>
          <p:cNvGrpSpPr/>
          <p:nvPr/>
        </p:nvGrpSpPr>
        <p:grpSpPr>
          <a:xfrm>
            <a:off x="10229981" y="4304122"/>
            <a:ext cx="967446" cy="967446"/>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bg2">
                <a:lumMod val="50000"/>
              </a:schemeClr>
            </a:solidFill>
            <a:ln w="1201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330">
                <a:defRPr/>
              </a:pPr>
              <a:endParaRPr lang="en-US">
                <a:solidFill>
                  <a:srgbClr val="FFFFFF"/>
                </a:solidFill>
                <a:latin typeface="Segoe UI"/>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pic>
        <p:nvPicPr>
          <p:cNvPr id="7" name="Picture 6" descr="A picture containing object, clock&#10;&#10;Description automatically generated">
            <a:extLst>
              <a:ext uri="{FF2B5EF4-FFF2-40B4-BE49-F238E27FC236}">
                <a16:creationId xmlns:a16="http://schemas.microsoft.com/office/drawing/2014/main" id="{090778B3-3B68-4034-B8D8-DC762468DFE3}"/>
              </a:ext>
            </a:extLst>
          </p:cNvPr>
          <p:cNvPicPr>
            <a:picLocks noChangeAspect="1"/>
          </p:cNvPicPr>
          <p:nvPr/>
        </p:nvPicPr>
        <p:blipFill>
          <a:blip r:embed="rId4"/>
          <a:stretch>
            <a:fillRect/>
          </a:stretch>
        </p:blipFill>
        <p:spPr>
          <a:xfrm>
            <a:off x="962255" y="4090618"/>
            <a:ext cx="1924856" cy="1971925"/>
          </a:xfrm>
          <a:prstGeom prst="rect">
            <a:avLst/>
          </a:prstGeom>
        </p:spPr>
      </p:pic>
      <p:grpSp>
        <p:nvGrpSpPr>
          <p:cNvPr id="291" name="Graphic 5">
            <a:extLst>
              <a:ext uri="{FF2B5EF4-FFF2-40B4-BE49-F238E27FC236}">
                <a16:creationId xmlns:a16="http://schemas.microsoft.com/office/drawing/2014/main" id="{E5341EF1-0EE6-499A-8FEA-DAA89520E5C4}"/>
              </a:ext>
            </a:extLst>
          </p:cNvPr>
          <p:cNvGrpSpPr/>
          <p:nvPr/>
        </p:nvGrpSpPr>
        <p:grpSpPr>
          <a:xfrm>
            <a:off x="7246170" y="4334335"/>
            <a:ext cx="967446" cy="967446"/>
            <a:chOff x="13954748" y="2124079"/>
            <a:chExt cx="1108509" cy="1108509"/>
          </a:xfrm>
        </p:grpSpPr>
        <p:sp>
          <p:nvSpPr>
            <p:cNvPr id="292" name="Freeform: Shape 291">
              <a:extLst>
                <a:ext uri="{FF2B5EF4-FFF2-40B4-BE49-F238E27FC236}">
                  <a16:creationId xmlns:a16="http://schemas.microsoft.com/office/drawing/2014/main" id="{9B487C94-DB35-421C-ADAE-529D93311C7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a:solidFill>
                  <a:srgbClr val="FFFFFF"/>
                </a:solidFill>
                <a:latin typeface="Segoe UI"/>
              </a:endParaRPr>
            </a:p>
          </p:txBody>
        </p:sp>
        <p:grpSp>
          <p:nvGrpSpPr>
            <p:cNvPr id="293" name="Graphic 5">
              <a:extLst>
                <a:ext uri="{FF2B5EF4-FFF2-40B4-BE49-F238E27FC236}">
                  <a16:creationId xmlns:a16="http://schemas.microsoft.com/office/drawing/2014/main" id="{44799DAE-224F-45CC-8058-F619B2F677EF}"/>
                </a:ext>
              </a:extLst>
            </p:cNvPr>
            <p:cNvGrpSpPr/>
            <p:nvPr/>
          </p:nvGrpSpPr>
          <p:grpSpPr>
            <a:xfrm>
              <a:off x="14211422" y="2428879"/>
              <a:ext cx="611204" cy="413084"/>
              <a:chOff x="14211422" y="2428879"/>
              <a:chExt cx="611204" cy="413084"/>
            </a:xfrm>
          </p:grpSpPr>
          <p:grpSp>
            <p:nvGrpSpPr>
              <p:cNvPr id="294" name="Graphic 5">
                <a:extLst>
                  <a:ext uri="{FF2B5EF4-FFF2-40B4-BE49-F238E27FC236}">
                    <a16:creationId xmlns:a16="http://schemas.microsoft.com/office/drawing/2014/main" id="{6C6C8349-A5CA-4A07-982B-C3DEAB356B03}"/>
                  </a:ext>
                </a:extLst>
              </p:cNvPr>
              <p:cNvGrpSpPr/>
              <p:nvPr/>
            </p:nvGrpSpPr>
            <p:grpSpPr>
              <a:xfrm>
                <a:off x="14386280" y="2428879"/>
                <a:ext cx="266299" cy="412282"/>
                <a:chOff x="14386280" y="2428879"/>
                <a:chExt cx="266299" cy="412282"/>
              </a:xfrm>
              <a:solidFill>
                <a:srgbClr val="0078D4"/>
              </a:solidFill>
            </p:grpSpPr>
            <p:sp>
              <p:nvSpPr>
                <p:cNvPr id="301" name="Freeform: Shape 300">
                  <a:extLst>
                    <a:ext uri="{FF2B5EF4-FFF2-40B4-BE49-F238E27FC236}">
                      <a16:creationId xmlns:a16="http://schemas.microsoft.com/office/drawing/2014/main" id="{F41BF75E-60D5-4E7B-8A7B-E95416E009D4}"/>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02" name="Freeform: Shape 301">
                  <a:extLst>
                    <a:ext uri="{FF2B5EF4-FFF2-40B4-BE49-F238E27FC236}">
                      <a16:creationId xmlns:a16="http://schemas.microsoft.com/office/drawing/2014/main" id="{2E3309D0-6B1D-4361-A0D6-A64BA85F672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295" name="Graphic 5">
                <a:extLst>
                  <a:ext uri="{FF2B5EF4-FFF2-40B4-BE49-F238E27FC236}">
                    <a16:creationId xmlns:a16="http://schemas.microsoft.com/office/drawing/2014/main" id="{7627D6EC-E913-4849-AC02-9D5060D96759}"/>
                  </a:ext>
                </a:extLst>
              </p:cNvPr>
              <p:cNvGrpSpPr/>
              <p:nvPr/>
            </p:nvGrpSpPr>
            <p:grpSpPr>
              <a:xfrm>
                <a:off x="14556327" y="2509089"/>
                <a:ext cx="266299" cy="332873"/>
                <a:chOff x="14556327" y="2509089"/>
                <a:chExt cx="266299" cy="332873"/>
              </a:xfrm>
              <a:solidFill>
                <a:srgbClr val="50E6FF"/>
              </a:solidFill>
            </p:grpSpPr>
            <p:sp>
              <p:nvSpPr>
                <p:cNvPr id="299" name="Freeform: Shape 298">
                  <a:extLst>
                    <a:ext uri="{FF2B5EF4-FFF2-40B4-BE49-F238E27FC236}">
                      <a16:creationId xmlns:a16="http://schemas.microsoft.com/office/drawing/2014/main" id="{6298139B-C85B-4ADE-B8E0-89ED088F9C88}"/>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00" name="Freeform: Shape 299">
                  <a:extLst>
                    <a:ext uri="{FF2B5EF4-FFF2-40B4-BE49-F238E27FC236}">
                      <a16:creationId xmlns:a16="http://schemas.microsoft.com/office/drawing/2014/main" id="{D5CC9241-A024-47A7-A36B-DB2CFAD95C3A}"/>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296" name="Graphic 5">
                <a:extLst>
                  <a:ext uri="{FF2B5EF4-FFF2-40B4-BE49-F238E27FC236}">
                    <a16:creationId xmlns:a16="http://schemas.microsoft.com/office/drawing/2014/main" id="{A1B8EC38-9673-4F57-8045-C1EED43286B9}"/>
                  </a:ext>
                </a:extLst>
              </p:cNvPr>
              <p:cNvGrpSpPr/>
              <p:nvPr/>
            </p:nvGrpSpPr>
            <p:grpSpPr>
              <a:xfrm>
                <a:off x="14211422" y="2509089"/>
                <a:ext cx="266299" cy="332873"/>
                <a:chOff x="14211422" y="2509089"/>
                <a:chExt cx="266299" cy="332873"/>
              </a:xfrm>
              <a:solidFill>
                <a:srgbClr val="50E6FF"/>
              </a:solidFill>
            </p:grpSpPr>
            <p:sp>
              <p:nvSpPr>
                <p:cNvPr id="297" name="Freeform: Shape 296">
                  <a:extLst>
                    <a:ext uri="{FF2B5EF4-FFF2-40B4-BE49-F238E27FC236}">
                      <a16:creationId xmlns:a16="http://schemas.microsoft.com/office/drawing/2014/main" id="{4CA81D1A-F91A-4920-AC6D-0FA5C2D13BE5}"/>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298" name="Freeform: Shape 297">
                  <a:extLst>
                    <a:ext uri="{FF2B5EF4-FFF2-40B4-BE49-F238E27FC236}">
                      <a16:creationId xmlns:a16="http://schemas.microsoft.com/office/drawing/2014/main" id="{0D72A907-70DE-4413-B6F2-9DEC4D5A6BFE}"/>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grpSp>
        <p:nvGrpSpPr>
          <p:cNvPr id="303" name="Graphic 5">
            <a:extLst>
              <a:ext uri="{FF2B5EF4-FFF2-40B4-BE49-F238E27FC236}">
                <a16:creationId xmlns:a16="http://schemas.microsoft.com/office/drawing/2014/main" id="{2C0ECA79-F18B-4A62-A237-8EC4185F5D48}"/>
              </a:ext>
            </a:extLst>
          </p:cNvPr>
          <p:cNvGrpSpPr/>
          <p:nvPr/>
        </p:nvGrpSpPr>
        <p:grpSpPr>
          <a:xfrm>
            <a:off x="4262360" y="4334335"/>
            <a:ext cx="967446" cy="967446"/>
            <a:chOff x="9025811" y="16948"/>
            <a:chExt cx="1108509" cy="1108509"/>
          </a:xfrm>
        </p:grpSpPr>
        <p:sp>
          <p:nvSpPr>
            <p:cNvPr id="304" name="Freeform: Shape 303">
              <a:extLst>
                <a:ext uri="{FF2B5EF4-FFF2-40B4-BE49-F238E27FC236}">
                  <a16:creationId xmlns:a16="http://schemas.microsoft.com/office/drawing/2014/main" id="{30C81363-28DB-49BC-9E38-7A88EDADD6E8}"/>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a:solidFill>
                  <a:srgbClr val="FFFFFF"/>
                </a:solidFill>
                <a:latin typeface="Segoe UI"/>
              </a:endParaRPr>
            </a:p>
          </p:txBody>
        </p:sp>
        <p:grpSp>
          <p:nvGrpSpPr>
            <p:cNvPr id="305" name="Graphic 5">
              <a:extLst>
                <a:ext uri="{FF2B5EF4-FFF2-40B4-BE49-F238E27FC236}">
                  <a16:creationId xmlns:a16="http://schemas.microsoft.com/office/drawing/2014/main" id="{93AEE62C-5029-4ED5-9944-C0758D8226F4}"/>
                </a:ext>
              </a:extLst>
            </p:cNvPr>
            <p:cNvGrpSpPr/>
            <p:nvPr/>
          </p:nvGrpSpPr>
          <p:grpSpPr>
            <a:xfrm>
              <a:off x="9211900" y="210256"/>
              <a:ext cx="730717" cy="730717"/>
              <a:chOff x="9211900" y="210256"/>
              <a:chExt cx="730717" cy="730717"/>
            </a:xfrm>
          </p:grpSpPr>
          <p:sp>
            <p:nvSpPr>
              <p:cNvPr id="306" name="Freeform: Shape 305">
                <a:extLst>
                  <a:ext uri="{FF2B5EF4-FFF2-40B4-BE49-F238E27FC236}">
                    <a16:creationId xmlns:a16="http://schemas.microsoft.com/office/drawing/2014/main" id="{943B3532-4685-42B3-9DAD-3AAA6B186C84}"/>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07" name="Freeform: Shape 306">
                <a:extLst>
                  <a:ext uri="{FF2B5EF4-FFF2-40B4-BE49-F238E27FC236}">
                    <a16:creationId xmlns:a16="http://schemas.microsoft.com/office/drawing/2014/main" id="{5B9E7785-B860-4234-8349-0A6506895562}"/>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08" name="Freeform: Shape 307">
                <a:extLst>
                  <a:ext uri="{FF2B5EF4-FFF2-40B4-BE49-F238E27FC236}">
                    <a16:creationId xmlns:a16="http://schemas.microsoft.com/office/drawing/2014/main" id="{93F31EB5-DC75-4026-9DFF-AADBE039762A}"/>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09" name="Freeform: Shape 308">
                <a:extLst>
                  <a:ext uri="{FF2B5EF4-FFF2-40B4-BE49-F238E27FC236}">
                    <a16:creationId xmlns:a16="http://schemas.microsoft.com/office/drawing/2014/main" id="{2E050F09-94D2-43A6-B4F9-A8C4DFBEBE0C}"/>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0" name="Freeform: Shape 309">
                <a:extLst>
                  <a:ext uri="{FF2B5EF4-FFF2-40B4-BE49-F238E27FC236}">
                    <a16:creationId xmlns:a16="http://schemas.microsoft.com/office/drawing/2014/main" id="{654E7B58-50AB-45F5-A73D-79BB9D82B85A}"/>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1" name="Freeform: Shape 310">
                <a:extLst>
                  <a:ext uri="{FF2B5EF4-FFF2-40B4-BE49-F238E27FC236}">
                    <a16:creationId xmlns:a16="http://schemas.microsoft.com/office/drawing/2014/main" id="{ED4FBEBF-B43C-439E-994B-D86AB20B0A19}"/>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2" name="Freeform: Shape 311">
                <a:extLst>
                  <a:ext uri="{FF2B5EF4-FFF2-40B4-BE49-F238E27FC236}">
                    <a16:creationId xmlns:a16="http://schemas.microsoft.com/office/drawing/2014/main" id="{10428055-7432-459D-A347-4DA74D32C99B}"/>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3" name="Freeform: Shape 312">
                <a:extLst>
                  <a:ext uri="{FF2B5EF4-FFF2-40B4-BE49-F238E27FC236}">
                    <a16:creationId xmlns:a16="http://schemas.microsoft.com/office/drawing/2014/main" id="{5EDAE907-4F76-4619-B9FC-D7382F80B144}"/>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14" name="Freeform: Shape 313">
                <a:extLst>
                  <a:ext uri="{FF2B5EF4-FFF2-40B4-BE49-F238E27FC236}">
                    <a16:creationId xmlns:a16="http://schemas.microsoft.com/office/drawing/2014/main" id="{471527DD-9841-4613-8E85-F425BA25A5B0}"/>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5" name="Freeform: Shape 314">
                <a:extLst>
                  <a:ext uri="{FF2B5EF4-FFF2-40B4-BE49-F238E27FC236}">
                    <a16:creationId xmlns:a16="http://schemas.microsoft.com/office/drawing/2014/main" id="{76304D01-30E8-4F4D-B5F9-B0CB8FB9EB50}"/>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6" name="Freeform: Shape 315">
                <a:extLst>
                  <a:ext uri="{FF2B5EF4-FFF2-40B4-BE49-F238E27FC236}">
                    <a16:creationId xmlns:a16="http://schemas.microsoft.com/office/drawing/2014/main" id="{AEF56B31-DB3C-4476-B9F0-A1E46E4A7C0F}"/>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7" name="Freeform: Shape 316">
                <a:extLst>
                  <a:ext uri="{FF2B5EF4-FFF2-40B4-BE49-F238E27FC236}">
                    <a16:creationId xmlns:a16="http://schemas.microsoft.com/office/drawing/2014/main" id="{98245A73-B6C4-42E1-A2C7-BA53F3FC90E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18" name="Freeform: Shape 317">
                <a:extLst>
                  <a:ext uri="{FF2B5EF4-FFF2-40B4-BE49-F238E27FC236}">
                    <a16:creationId xmlns:a16="http://schemas.microsoft.com/office/drawing/2014/main" id="{0C63CBFB-AB80-4FDA-8CA7-A8A90CB12CAF}"/>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nvGrpSpPr>
          <p:cNvPr id="319" name="Graphic 5">
            <a:extLst>
              <a:ext uri="{FF2B5EF4-FFF2-40B4-BE49-F238E27FC236}">
                <a16:creationId xmlns:a16="http://schemas.microsoft.com/office/drawing/2014/main" id="{B003B6CB-C6CF-448A-8459-39BFFA7F3739}"/>
              </a:ext>
            </a:extLst>
          </p:cNvPr>
          <p:cNvGrpSpPr/>
          <p:nvPr/>
        </p:nvGrpSpPr>
        <p:grpSpPr>
          <a:xfrm>
            <a:off x="3267757" y="4334335"/>
            <a:ext cx="967446" cy="967446"/>
            <a:chOff x="11096050" y="-737030"/>
            <a:chExt cx="1108509" cy="1108509"/>
          </a:xfrm>
          <a:solidFill>
            <a:schemeClr val="bg2">
              <a:lumMod val="50000"/>
            </a:schemeClr>
          </a:solidFill>
        </p:grpSpPr>
        <p:sp>
          <p:nvSpPr>
            <p:cNvPr id="320" name="Freeform: Shape 319">
              <a:extLst>
                <a:ext uri="{FF2B5EF4-FFF2-40B4-BE49-F238E27FC236}">
                  <a16:creationId xmlns:a16="http://schemas.microsoft.com/office/drawing/2014/main" id="{A86BFD62-F545-46DC-AF6B-32B0AE5D8FBE}"/>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grpFill/>
            <a:ln w="12017" cap="flat">
              <a:noFill/>
              <a:prstDash val="solid"/>
              <a:miter/>
            </a:ln>
          </p:spPr>
          <p:txBody>
            <a:bodyPr rtlCol="0" anchor="ctr"/>
            <a:lstStyle/>
            <a:p>
              <a:pPr defTabSz="914330">
                <a:defRPr/>
              </a:pPr>
              <a:endParaRPr lang="en-US">
                <a:solidFill>
                  <a:srgbClr val="FFFFFF"/>
                </a:solidFill>
                <a:latin typeface="Segoe UI"/>
              </a:endParaRPr>
            </a:p>
          </p:txBody>
        </p:sp>
        <p:grpSp>
          <p:nvGrpSpPr>
            <p:cNvPr id="321" name="Graphic 5">
              <a:extLst>
                <a:ext uri="{FF2B5EF4-FFF2-40B4-BE49-F238E27FC236}">
                  <a16:creationId xmlns:a16="http://schemas.microsoft.com/office/drawing/2014/main" id="{1F68E39F-35D5-4472-8809-5CC914C7D272}"/>
                </a:ext>
              </a:extLst>
            </p:cNvPr>
            <p:cNvGrpSpPr/>
            <p:nvPr/>
          </p:nvGrpSpPr>
          <p:grpSpPr>
            <a:xfrm>
              <a:off x="11346302" y="-518857"/>
              <a:ext cx="617621" cy="638475"/>
              <a:chOff x="11346302" y="-518857"/>
              <a:chExt cx="617621" cy="638475"/>
            </a:xfrm>
            <a:grpFill/>
          </p:grpSpPr>
          <p:sp>
            <p:nvSpPr>
              <p:cNvPr id="322" name="Freeform: Shape 321">
                <a:extLst>
                  <a:ext uri="{FF2B5EF4-FFF2-40B4-BE49-F238E27FC236}">
                    <a16:creationId xmlns:a16="http://schemas.microsoft.com/office/drawing/2014/main" id="{73DEFC4A-7BEA-4D44-A79B-0976970BD10C}"/>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grp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23" name="Freeform: Shape 322">
                <a:extLst>
                  <a:ext uri="{FF2B5EF4-FFF2-40B4-BE49-F238E27FC236}">
                    <a16:creationId xmlns:a16="http://schemas.microsoft.com/office/drawing/2014/main" id="{A52B0E27-9E56-41F0-9B35-A17A03B4257B}"/>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defTabSz="914330">
                  <a:defRPr/>
                </a:pPr>
                <a:endParaRPr lang="en-US">
                  <a:solidFill>
                    <a:srgbClr val="FFFFFF"/>
                  </a:solidFill>
                  <a:latin typeface="Segoe UI"/>
                </a:endParaRPr>
              </a:p>
            </p:txBody>
          </p:sp>
          <p:sp>
            <p:nvSpPr>
              <p:cNvPr id="324" name="Freeform: Shape 323">
                <a:extLst>
                  <a:ext uri="{FF2B5EF4-FFF2-40B4-BE49-F238E27FC236}">
                    <a16:creationId xmlns:a16="http://schemas.microsoft.com/office/drawing/2014/main" id="{AFF5BAC7-0B1A-429E-8812-AC3478DDBE23}"/>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25" name="Freeform: Shape 324">
                <a:extLst>
                  <a:ext uri="{FF2B5EF4-FFF2-40B4-BE49-F238E27FC236}">
                    <a16:creationId xmlns:a16="http://schemas.microsoft.com/office/drawing/2014/main" id="{CE9E71D5-01DB-4E16-88BA-4FB441E6A6AF}"/>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26" name="Freeform: Shape 325">
                <a:extLst>
                  <a:ext uri="{FF2B5EF4-FFF2-40B4-BE49-F238E27FC236}">
                    <a16:creationId xmlns:a16="http://schemas.microsoft.com/office/drawing/2014/main" id="{C81768E1-8A8C-40D0-99B5-3E3986D4A7A6}"/>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27" name="Freeform: Shape 326">
                <a:extLst>
                  <a:ext uri="{FF2B5EF4-FFF2-40B4-BE49-F238E27FC236}">
                    <a16:creationId xmlns:a16="http://schemas.microsoft.com/office/drawing/2014/main" id="{49365EB8-05CA-472B-86C9-69F63FABA00B}"/>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2"/>
              </a:solidFill>
              <a:ln w="8011" cap="flat">
                <a:noFill/>
                <a:prstDash val="solid"/>
                <a:miter/>
              </a:ln>
            </p:spPr>
            <p:txBody>
              <a:bodyPr rtlCol="0" anchor="ctr"/>
              <a:lstStyle/>
              <a:p>
                <a:pPr defTabSz="914330">
                  <a:defRPr/>
                </a:pPr>
                <a:endParaRPr lang="en-US">
                  <a:solidFill>
                    <a:srgbClr val="FFFFFF"/>
                  </a:solidFill>
                  <a:latin typeface="Segoe UI"/>
                </a:endParaRPr>
              </a:p>
            </p:txBody>
          </p:sp>
          <p:grpSp>
            <p:nvGrpSpPr>
              <p:cNvPr id="328" name="Graphic 5">
                <a:extLst>
                  <a:ext uri="{FF2B5EF4-FFF2-40B4-BE49-F238E27FC236}">
                    <a16:creationId xmlns:a16="http://schemas.microsoft.com/office/drawing/2014/main" id="{36CB1ED7-9DCD-4493-8AAE-6447FD336D86}"/>
                  </a:ext>
                </a:extLst>
              </p:cNvPr>
              <p:cNvGrpSpPr/>
              <p:nvPr/>
            </p:nvGrpSpPr>
            <p:grpSpPr>
              <a:xfrm>
                <a:off x="11843607" y="-11124"/>
                <a:ext cx="82616" cy="104273"/>
                <a:chOff x="11843607" y="-11124"/>
                <a:chExt cx="82616" cy="104273"/>
              </a:xfrm>
              <a:grpFill/>
            </p:grpSpPr>
            <p:sp>
              <p:nvSpPr>
                <p:cNvPr id="338" name="Freeform: Shape 337">
                  <a:extLst>
                    <a:ext uri="{FF2B5EF4-FFF2-40B4-BE49-F238E27FC236}">
                      <a16:creationId xmlns:a16="http://schemas.microsoft.com/office/drawing/2014/main" id="{7DA010D5-F7FB-470B-BBB6-C02CA2252C4D}"/>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39" name="Freeform: Shape 338">
                  <a:extLst>
                    <a:ext uri="{FF2B5EF4-FFF2-40B4-BE49-F238E27FC236}">
                      <a16:creationId xmlns:a16="http://schemas.microsoft.com/office/drawing/2014/main" id="{4376A335-E5EA-4FC2-8949-2BFC783F2BF8}"/>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29" name="Graphic 5">
                <a:extLst>
                  <a:ext uri="{FF2B5EF4-FFF2-40B4-BE49-F238E27FC236}">
                    <a16:creationId xmlns:a16="http://schemas.microsoft.com/office/drawing/2014/main" id="{77D7B409-1DD3-4D4B-A4BF-F036F6FAD11F}"/>
                  </a:ext>
                </a:extLst>
              </p:cNvPr>
              <p:cNvGrpSpPr/>
              <p:nvPr/>
            </p:nvGrpSpPr>
            <p:grpSpPr>
              <a:xfrm>
                <a:off x="11612601" y="-11124"/>
                <a:ext cx="82616" cy="104273"/>
                <a:chOff x="11612601" y="-11124"/>
                <a:chExt cx="82616" cy="104273"/>
              </a:xfrm>
              <a:grpFill/>
            </p:grpSpPr>
            <p:sp>
              <p:nvSpPr>
                <p:cNvPr id="336" name="Freeform: Shape 335">
                  <a:extLst>
                    <a:ext uri="{FF2B5EF4-FFF2-40B4-BE49-F238E27FC236}">
                      <a16:creationId xmlns:a16="http://schemas.microsoft.com/office/drawing/2014/main" id="{E5E5F749-7D9C-4182-A874-28DEE2305119}"/>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chemeClr val="bg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37" name="Freeform: Shape 336">
                  <a:extLst>
                    <a:ext uri="{FF2B5EF4-FFF2-40B4-BE49-F238E27FC236}">
                      <a16:creationId xmlns:a16="http://schemas.microsoft.com/office/drawing/2014/main" id="{2505E5B5-F4C0-4E47-91C8-C47BD3EF887D}"/>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chemeClr val="bg1"/>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30" name="Graphic 5">
                <a:extLst>
                  <a:ext uri="{FF2B5EF4-FFF2-40B4-BE49-F238E27FC236}">
                    <a16:creationId xmlns:a16="http://schemas.microsoft.com/office/drawing/2014/main" id="{42B197D8-BF19-4780-AFF0-46EA7FE8E58E}"/>
                  </a:ext>
                </a:extLst>
              </p:cNvPr>
              <p:cNvGrpSpPr/>
              <p:nvPr/>
            </p:nvGrpSpPr>
            <p:grpSpPr>
              <a:xfrm>
                <a:off x="11382397" y="-11124"/>
                <a:ext cx="82616" cy="104273"/>
                <a:chOff x="11382397" y="-11124"/>
                <a:chExt cx="82616" cy="104273"/>
              </a:xfrm>
              <a:grpFill/>
            </p:grpSpPr>
            <p:sp>
              <p:nvSpPr>
                <p:cNvPr id="334" name="Freeform: Shape 333">
                  <a:extLst>
                    <a:ext uri="{FF2B5EF4-FFF2-40B4-BE49-F238E27FC236}">
                      <a16:creationId xmlns:a16="http://schemas.microsoft.com/office/drawing/2014/main" id="{8C54AECE-ED91-4125-9BBE-77346F46C2F8}"/>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chemeClr val="bg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35" name="Freeform: Shape 334">
                  <a:extLst>
                    <a:ext uri="{FF2B5EF4-FFF2-40B4-BE49-F238E27FC236}">
                      <a16:creationId xmlns:a16="http://schemas.microsoft.com/office/drawing/2014/main" id="{532A3E8D-DF15-46FF-B83D-4BCB2BE7AE57}"/>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chemeClr val="bg1"/>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31" name="Graphic 5">
                <a:extLst>
                  <a:ext uri="{FF2B5EF4-FFF2-40B4-BE49-F238E27FC236}">
                    <a16:creationId xmlns:a16="http://schemas.microsoft.com/office/drawing/2014/main" id="{A9136F1B-EE03-4D75-8B2E-D6184E7E722F}"/>
                  </a:ext>
                </a:extLst>
              </p:cNvPr>
              <p:cNvGrpSpPr/>
              <p:nvPr/>
            </p:nvGrpSpPr>
            <p:grpSpPr>
              <a:xfrm>
                <a:off x="11612601" y="-493190"/>
                <a:ext cx="82616" cy="105075"/>
                <a:chOff x="11612601" y="-493190"/>
                <a:chExt cx="82616" cy="105075"/>
              </a:xfrm>
              <a:grpFill/>
            </p:grpSpPr>
            <p:sp>
              <p:nvSpPr>
                <p:cNvPr id="332" name="Freeform: Shape 331">
                  <a:extLst>
                    <a:ext uri="{FF2B5EF4-FFF2-40B4-BE49-F238E27FC236}">
                      <a16:creationId xmlns:a16="http://schemas.microsoft.com/office/drawing/2014/main" id="{ED4C3FE9-A6C9-44B1-8371-D84962876CFB}"/>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33" name="Freeform: Shape 332">
                  <a:extLst>
                    <a:ext uri="{FF2B5EF4-FFF2-40B4-BE49-F238E27FC236}">
                      <a16:creationId xmlns:a16="http://schemas.microsoft.com/office/drawing/2014/main" id="{C9A87D1C-9CA7-4289-A9EF-598972D9034B}"/>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grpSp>
        <p:nvGrpSpPr>
          <p:cNvPr id="340" name="Graphic 5">
            <a:extLst>
              <a:ext uri="{FF2B5EF4-FFF2-40B4-BE49-F238E27FC236}">
                <a16:creationId xmlns:a16="http://schemas.microsoft.com/office/drawing/2014/main" id="{3F509AC1-24CC-44EC-818D-2909919BB487}"/>
              </a:ext>
            </a:extLst>
          </p:cNvPr>
          <p:cNvGrpSpPr/>
          <p:nvPr/>
        </p:nvGrpSpPr>
        <p:grpSpPr>
          <a:xfrm>
            <a:off x="5256964" y="4334335"/>
            <a:ext cx="967446" cy="967446"/>
            <a:chOff x="8163548" y="2124079"/>
            <a:chExt cx="1108509" cy="1108509"/>
          </a:xfrm>
        </p:grpSpPr>
        <p:sp>
          <p:nvSpPr>
            <p:cNvPr id="341" name="Freeform: Shape 340">
              <a:extLst>
                <a:ext uri="{FF2B5EF4-FFF2-40B4-BE49-F238E27FC236}">
                  <a16:creationId xmlns:a16="http://schemas.microsoft.com/office/drawing/2014/main" id="{14619E56-0899-4193-9ABC-9A673916D2C2}"/>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a:solidFill>
                  <a:srgbClr val="FFFFFF"/>
                </a:solidFill>
                <a:latin typeface="Segoe UI"/>
              </a:endParaRPr>
            </a:p>
          </p:txBody>
        </p:sp>
        <p:grpSp>
          <p:nvGrpSpPr>
            <p:cNvPr id="342" name="Graphic 5">
              <a:extLst>
                <a:ext uri="{FF2B5EF4-FFF2-40B4-BE49-F238E27FC236}">
                  <a16:creationId xmlns:a16="http://schemas.microsoft.com/office/drawing/2014/main" id="{DFBC6205-BFB5-4767-9021-1A81A847CA5A}"/>
                </a:ext>
              </a:extLst>
            </p:cNvPr>
            <p:cNvGrpSpPr/>
            <p:nvPr/>
          </p:nvGrpSpPr>
          <p:grpSpPr>
            <a:xfrm>
              <a:off x="8421826" y="2454547"/>
              <a:ext cx="591151" cy="443563"/>
              <a:chOff x="8421826" y="2454547"/>
              <a:chExt cx="591151" cy="443563"/>
            </a:xfrm>
          </p:grpSpPr>
          <p:sp>
            <p:nvSpPr>
              <p:cNvPr id="343" name="Freeform: Shape 342">
                <a:extLst>
                  <a:ext uri="{FF2B5EF4-FFF2-40B4-BE49-F238E27FC236}">
                    <a16:creationId xmlns:a16="http://schemas.microsoft.com/office/drawing/2014/main" id="{1A823656-FF1C-4E9E-B0A9-9A29DEA6CE08}"/>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44" name="Freeform: Shape 343">
                <a:extLst>
                  <a:ext uri="{FF2B5EF4-FFF2-40B4-BE49-F238E27FC236}">
                    <a16:creationId xmlns:a16="http://schemas.microsoft.com/office/drawing/2014/main" id="{CFC60CD4-282C-4674-AC79-B1EEF4EA78B4}"/>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accent3"/>
              </a:solidFill>
              <a:ln w="8011" cap="flat">
                <a:noFill/>
                <a:prstDash val="solid"/>
                <a:miter/>
              </a:ln>
            </p:spPr>
            <p:txBody>
              <a:bodyPr rtlCol="0" anchor="ctr"/>
              <a:lstStyle/>
              <a:p>
                <a:pPr defTabSz="914330">
                  <a:defRPr/>
                </a:pPr>
                <a:endParaRPr lang="en-US">
                  <a:solidFill>
                    <a:srgbClr val="FFFFFF"/>
                  </a:solidFill>
                  <a:latin typeface="Segoe UI"/>
                </a:endParaRPr>
              </a:p>
            </p:txBody>
          </p:sp>
          <p:grpSp>
            <p:nvGrpSpPr>
              <p:cNvPr id="345" name="Graphic 5">
                <a:extLst>
                  <a:ext uri="{FF2B5EF4-FFF2-40B4-BE49-F238E27FC236}">
                    <a16:creationId xmlns:a16="http://schemas.microsoft.com/office/drawing/2014/main" id="{3838B2FF-C81E-4DB0-8A71-9D44DF12333B}"/>
                  </a:ext>
                </a:extLst>
              </p:cNvPr>
              <p:cNvGrpSpPr/>
              <p:nvPr/>
            </p:nvGrpSpPr>
            <p:grpSpPr>
              <a:xfrm>
                <a:off x="8472359" y="2606946"/>
                <a:ext cx="218172" cy="245444"/>
                <a:chOff x="8472359" y="2606946"/>
                <a:chExt cx="218172" cy="245444"/>
              </a:xfrm>
              <a:solidFill>
                <a:srgbClr val="0078D4"/>
              </a:solidFill>
            </p:grpSpPr>
            <p:sp>
              <p:nvSpPr>
                <p:cNvPr id="349" name="Freeform: Shape 348">
                  <a:extLst>
                    <a:ext uri="{FF2B5EF4-FFF2-40B4-BE49-F238E27FC236}">
                      <a16:creationId xmlns:a16="http://schemas.microsoft.com/office/drawing/2014/main" id="{66604FF2-EDBB-48FB-B45E-428958871A30}"/>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50" name="Freeform: Shape 349">
                  <a:extLst>
                    <a:ext uri="{FF2B5EF4-FFF2-40B4-BE49-F238E27FC236}">
                      <a16:creationId xmlns:a16="http://schemas.microsoft.com/office/drawing/2014/main" id="{44E0090F-B69A-470D-900D-1C980A9E6CB1}"/>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sp>
            <p:nvSpPr>
              <p:cNvPr id="346" name="Freeform: Shape 345">
                <a:extLst>
                  <a:ext uri="{FF2B5EF4-FFF2-40B4-BE49-F238E27FC236}">
                    <a16:creationId xmlns:a16="http://schemas.microsoft.com/office/drawing/2014/main" id="{338D8A48-75DC-43B7-8874-24D5DA384514}"/>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47" name="Freeform: Shape 346">
                <a:extLst>
                  <a:ext uri="{FF2B5EF4-FFF2-40B4-BE49-F238E27FC236}">
                    <a16:creationId xmlns:a16="http://schemas.microsoft.com/office/drawing/2014/main" id="{71106A59-0D03-4A21-98D0-6AEEC3E754CA}"/>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48" name="Freeform: Shape 347">
                <a:extLst>
                  <a:ext uri="{FF2B5EF4-FFF2-40B4-BE49-F238E27FC236}">
                    <a16:creationId xmlns:a16="http://schemas.microsoft.com/office/drawing/2014/main" id="{2FDAE6C6-CD8E-452F-910E-217482211CF0}"/>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nvGrpSpPr>
          <p:cNvPr id="351" name="Graphic 5">
            <a:extLst>
              <a:ext uri="{FF2B5EF4-FFF2-40B4-BE49-F238E27FC236}">
                <a16:creationId xmlns:a16="http://schemas.microsoft.com/office/drawing/2014/main" id="{DB0805A4-330E-41F9-82A5-178EF46BD1E1}"/>
              </a:ext>
            </a:extLst>
          </p:cNvPr>
          <p:cNvGrpSpPr/>
          <p:nvPr/>
        </p:nvGrpSpPr>
        <p:grpSpPr>
          <a:xfrm>
            <a:off x="8240774" y="4334335"/>
            <a:ext cx="967446" cy="967446"/>
            <a:chOff x="11107275" y="4998022"/>
            <a:chExt cx="1108509" cy="1108509"/>
          </a:xfrm>
        </p:grpSpPr>
        <p:sp>
          <p:nvSpPr>
            <p:cNvPr id="352" name="Freeform: Shape 351">
              <a:extLst>
                <a:ext uri="{FF2B5EF4-FFF2-40B4-BE49-F238E27FC236}">
                  <a16:creationId xmlns:a16="http://schemas.microsoft.com/office/drawing/2014/main" id="{B3715B24-FF4A-447F-81E9-56F7B560A211}"/>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dirty="0">
                <a:solidFill>
                  <a:srgbClr val="FFFFFF"/>
                </a:solidFill>
                <a:latin typeface="Segoe UI"/>
              </a:endParaRPr>
            </a:p>
          </p:txBody>
        </p:sp>
        <p:grpSp>
          <p:nvGrpSpPr>
            <p:cNvPr id="353" name="Graphic 5">
              <a:extLst>
                <a:ext uri="{FF2B5EF4-FFF2-40B4-BE49-F238E27FC236}">
                  <a16:creationId xmlns:a16="http://schemas.microsoft.com/office/drawing/2014/main" id="{0F9AD1C7-1B91-43FC-A605-4E7439C5B9F0}"/>
                </a:ext>
              </a:extLst>
            </p:cNvPr>
            <p:cNvGrpSpPr/>
            <p:nvPr/>
          </p:nvGrpSpPr>
          <p:grpSpPr>
            <a:xfrm>
              <a:off x="11364750" y="5253894"/>
              <a:ext cx="599974" cy="599974"/>
              <a:chOff x="11364750" y="5253894"/>
              <a:chExt cx="599974" cy="599974"/>
            </a:xfrm>
          </p:grpSpPr>
          <p:grpSp>
            <p:nvGrpSpPr>
              <p:cNvPr id="354" name="Graphic 5">
                <a:extLst>
                  <a:ext uri="{FF2B5EF4-FFF2-40B4-BE49-F238E27FC236}">
                    <a16:creationId xmlns:a16="http://schemas.microsoft.com/office/drawing/2014/main" id="{8ED9CE69-2031-4CDF-8AEB-DE7C4742328A}"/>
                  </a:ext>
                </a:extLst>
              </p:cNvPr>
              <p:cNvGrpSpPr/>
              <p:nvPr/>
            </p:nvGrpSpPr>
            <p:grpSpPr>
              <a:xfrm>
                <a:off x="11533192" y="5253894"/>
                <a:ext cx="431532" cy="431532"/>
                <a:chOff x="11533192" y="5253894"/>
                <a:chExt cx="431532" cy="431532"/>
              </a:xfrm>
              <a:solidFill>
                <a:srgbClr val="0078D4"/>
              </a:solidFill>
            </p:grpSpPr>
            <p:sp>
              <p:nvSpPr>
                <p:cNvPr id="365" name="Freeform: Shape 364">
                  <a:extLst>
                    <a:ext uri="{FF2B5EF4-FFF2-40B4-BE49-F238E27FC236}">
                      <a16:creationId xmlns:a16="http://schemas.microsoft.com/office/drawing/2014/main" id="{53E71F88-2EA5-4931-BB9C-BEF6BAD825F6}"/>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6" name="Freeform: Shape 365">
                  <a:extLst>
                    <a:ext uri="{FF2B5EF4-FFF2-40B4-BE49-F238E27FC236}">
                      <a16:creationId xmlns:a16="http://schemas.microsoft.com/office/drawing/2014/main" id="{F5ADDC17-AB47-49F4-BE26-CB244305AA9B}"/>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7" name="Freeform: Shape 366">
                  <a:extLst>
                    <a:ext uri="{FF2B5EF4-FFF2-40B4-BE49-F238E27FC236}">
                      <a16:creationId xmlns:a16="http://schemas.microsoft.com/office/drawing/2014/main" id="{7DD4D481-8159-4BEE-8671-52076CE62494}"/>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8" name="Freeform: Shape 367">
                  <a:extLst>
                    <a:ext uri="{FF2B5EF4-FFF2-40B4-BE49-F238E27FC236}">
                      <a16:creationId xmlns:a16="http://schemas.microsoft.com/office/drawing/2014/main" id="{02B84B0F-2645-4442-8EC8-B0D839127589}"/>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9" name="Freeform: Shape 368">
                  <a:extLst>
                    <a:ext uri="{FF2B5EF4-FFF2-40B4-BE49-F238E27FC236}">
                      <a16:creationId xmlns:a16="http://schemas.microsoft.com/office/drawing/2014/main" id="{37D55A68-FE05-41E3-A33F-06AEE9BAE553}"/>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0" name="Freeform: Shape 369">
                  <a:extLst>
                    <a:ext uri="{FF2B5EF4-FFF2-40B4-BE49-F238E27FC236}">
                      <a16:creationId xmlns:a16="http://schemas.microsoft.com/office/drawing/2014/main" id="{3FCC24E3-D8AA-4A7C-BE43-B70D5043E20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1" name="Freeform: Shape 370">
                  <a:extLst>
                    <a:ext uri="{FF2B5EF4-FFF2-40B4-BE49-F238E27FC236}">
                      <a16:creationId xmlns:a16="http://schemas.microsoft.com/office/drawing/2014/main" id="{60763BB0-FF03-48D1-97AF-04D877870A63}"/>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2" name="Freeform: Shape 371">
                  <a:extLst>
                    <a:ext uri="{FF2B5EF4-FFF2-40B4-BE49-F238E27FC236}">
                      <a16:creationId xmlns:a16="http://schemas.microsoft.com/office/drawing/2014/main" id="{96E44D6E-D223-4196-9DB6-C0F1BB0052B7}"/>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3" name="Freeform: Shape 372">
                  <a:extLst>
                    <a:ext uri="{FF2B5EF4-FFF2-40B4-BE49-F238E27FC236}">
                      <a16:creationId xmlns:a16="http://schemas.microsoft.com/office/drawing/2014/main" id="{A926A5AA-0407-4CD1-8D74-FC248284A5DF}"/>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55" name="Graphic 5">
                <a:extLst>
                  <a:ext uri="{FF2B5EF4-FFF2-40B4-BE49-F238E27FC236}">
                    <a16:creationId xmlns:a16="http://schemas.microsoft.com/office/drawing/2014/main" id="{CD0C2728-075A-4F40-8451-F3FB2F10E15C}"/>
                  </a:ext>
                </a:extLst>
              </p:cNvPr>
              <p:cNvGrpSpPr/>
              <p:nvPr/>
            </p:nvGrpSpPr>
            <p:grpSpPr>
              <a:xfrm>
                <a:off x="11364750" y="5590778"/>
                <a:ext cx="262288" cy="263090"/>
                <a:chOff x="11364750" y="5590778"/>
                <a:chExt cx="262288" cy="263090"/>
              </a:xfrm>
              <a:solidFill>
                <a:srgbClr val="50E6FF"/>
              </a:solidFill>
            </p:grpSpPr>
            <p:sp>
              <p:nvSpPr>
                <p:cNvPr id="356" name="Freeform: Shape 355">
                  <a:extLst>
                    <a:ext uri="{FF2B5EF4-FFF2-40B4-BE49-F238E27FC236}">
                      <a16:creationId xmlns:a16="http://schemas.microsoft.com/office/drawing/2014/main" id="{9CDCC468-5036-4560-9EF4-FE38CFFF02BC}"/>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57" name="Freeform: Shape 356">
                  <a:extLst>
                    <a:ext uri="{FF2B5EF4-FFF2-40B4-BE49-F238E27FC236}">
                      <a16:creationId xmlns:a16="http://schemas.microsoft.com/office/drawing/2014/main" id="{58A6AAE8-6B22-4B9C-821A-7920C8C8D4B6}"/>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58" name="Freeform: Shape 357">
                  <a:extLst>
                    <a:ext uri="{FF2B5EF4-FFF2-40B4-BE49-F238E27FC236}">
                      <a16:creationId xmlns:a16="http://schemas.microsoft.com/office/drawing/2014/main" id="{362106F9-6E16-4D46-8B81-061D49C54EFE}"/>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59" name="Freeform: Shape 358">
                  <a:extLst>
                    <a:ext uri="{FF2B5EF4-FFF2-40B4-BE49-F238E27FC236}">
                      <a16:creationId xmlns:a16="http://schemas.microsoft.com/office/drawing/2014/main" id="{3EF636AA-361A-417A-9080-C6738C34716A}"/>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0" name="Freeform: Shape 359">
                  <a:extLst>
                    <a:ext uri="{FF2B5EF4-FFF2-40B4-BE49-F238E27FC236}">
                      <a16:creationId xmlns:a16="http://schemas.microsoft.com/office/drawing/2014/main" id="{EC95158E-F2A4-4C80-834F-66E48CD88642}"/>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1" name="Freeform: Shape 360">
                  <a:extLst>
                    <a:ext uri="{FF2B5EF4-FFF2-40B4-BE49-F238E27FC236}">
                      <a16:creationId xmlns:a16="http://schemas.microsoft.com/office/drawing/2014/main" id="{62846DFF-7922-4E11-81EC-40DABEC30CB5}"/>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2" name="Freeform: Shape 361">
                  <a:extLst>
                    <a:ext uri="{FF2B5EF4-FFF2-40B4-BE49-F238E27FC236}">
                      <a16:creationId xmlns:a16="http://schemas.microsoft.com/office/drawing/2014/main" id="{43662E04-0848-4645-9D73-A8368E638089}"/>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3" name="Freeform: Shape 362">
                  <a:extLst>
                    <a:ext uri="{FF2B5EF4-FFF2-40B4-BE49-F238E27FC236}">
                      <a16:creationId xmlns:a16="http://schemas.microsoft.com/office/drawing/2014/main" id="{F8B3A5EC-E878-4149-86E4-205C44AD50E5}"/>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64" name="Freeform: Shape 363">
                  <a:extLst>
                    <a:ext uri="{FF2B5EF4-FFF2-40B4-BE49-F238E27FC236}">
                      <a16:creationId xmlns:a16="http://schemas.microsoft.com/office/drawing/2014/main" id="{823AF2B9-F8CA-4FAB-B9DD-29D67F55F4B4}"/>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grpSp>
        <p:nvGrpSpPr>
          <p:cNvPr id="374" name="Graphic 5">
            <a:extLst>
              <a:ext uri="{FF2B5EF4-FFF2-40B4-BE49-F238E27FC236}">
                <a16:creationId xmlns:a16="http://schemas.microsoft.com/office/drawing/2014/main" id="{56AC8A95-3C72-4D79-A282-AFE3B730AAD9}"/>
              </a:ext>
            </a:extLst>
          </p:cNvPr>
          <p:cNvGrpSpPr/>
          <p:nvPr/>
        </p:nvGrpSpPr>
        <p:grpSpPr>
          <a:xfrm>
            <a:off x="6251567" y="4334335"/>
            <a:ext cx="967446" cy="967446"/>
            <a:chOff x="9025811" y="4139769"/>
            <a:chExt cx="1108509" cy="1108509"/>
          </a:xfrm>
        </p:grpSpPr>
        <p:sp>
          <p:nvSpPr>
            <p:cNvPr id="375" name="Freeform: Shape 374">
              <a:extLst>
                <a:ext uri="{FF2B5EF4-FFF2-40B4-BE49-F238E27FC236}">
                  <a16:creationId xmlns:a16="http://schemas.microsoft.com/office/drawing/2014/main" id="{99DC705E-842D-481C-AAF9-C53B2D21D827}"/>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bg2">
                <a:lumMod val="50000"/>
              </a:schemeClr>
            </a:solidFill>
            <a:ln w="12017" cap="flat">
              <a:noFill/>
              <a:prstDash val="solid"/>
              <a:miter/>
            </a:ln>
          </p:spPr>
          <p:txBody>
            <a:bodyPr rtlCol="0" anchor="ctr"/>
            <a:lstStyle/>
            <a:p>
              <a:pPr defTabSz="914330">
                <a:defRPr/>
              </a:pPr>
              <a:endParaRPr lang="en-US" dirty="0">
                <a:solidFill>
                  <a:srgbClr val="FFFFFF"/>
                </a:solidFill>
                <a:latin typeface="Segoe UI"/>
              </a:endParaRPr>
            </a:p>
          </p:txBody>
        </p:sp>
        <p:grpSp>
          <p:nvGrpSpPr>
            <p:cNvPr id="376" name="Graphic 5">
              <a:extLst>
                <a:ext uri="{FF2B5EF4-FFF2-40B4-BE49-F238E27FC236}">
                  <a16:creationId xmlns:a16="http://schemas.microsoft.com/office/drawing/2014/main" id="{8D1E2757-D29A-46D6-AB5C-7767EFD181CC}"/>
                </a:ext>
              </a:extLst>
            </p:cNvPr>
            <p:cNvGrpSpPr/>
            <p:nvPr/>
          </p:nvGrpSpPr>
          <p:grpSpPr>
            <a:xfrm>
              <a:off x="9388363" y="4423715"/>
              <a:ext cx="358541" cy="521368"/>
              <a:chOff x="9388363" y="4423715"/>
              <a:chExt cx="358541" cy="521368"/>
            </a:xfrm>
          </p:grpSpPr>
          <p:sp>
            <p:nvSpPr>
              <p:cNvPr id="377" name="Freeform: Shape 376">
                <a:extLst>
                  <a:ext uri="{FF2B5EF4-FFF2-40B4-BE49-F238E27FC236}">
                    <a16:creationId xmlns:a16="http://schemas.microsoft.com/office/drawing/2014/main" id="{8D5CFF56-6B29-4229-887A-A1914F37BD1D}"/>
                  </a:ext>
                </a:extLst>
              </p:cNvPr>
              <p:cNvSpPr/>
              <p:nvPr/>
            </p:nvSpPr>
            <p:spPr>
              <a:xfrm>
                <a:off x="9388363" y="4423715"/>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8" name="Freeform: Shape 377">
                <a:extLst>
                  <a:ext uri="{FF2B5EF4-FFF2-40B4-BE49-F238E27FC236}">
                    <a16:creationId xmlns:a16="http://schemas.microsoft.com/office/drawing/2014/main" id="{D03775D0-9D2D-4FFB-B9DD-2FE47657156D}"/>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79" name="Freeform: Shape 378">
                <a:extLst>
                  <a:ext uri="{FF2B5EF4-FFF2-40B4-BE49-F238E27FC236}">
                    <a16:creationId xmlns:a16="http://schemas.microsoft.com/office/drawing/2014/main" id="{439A441B-4855-40F6-93D8-93194FCD9400}"/>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80" name="Freeform: Shape 379">
                <a:extLst>
                  <a:ext uri="{FF2B5EF4-FFF2-40B4-BE49-F238E27FC236}">
                    <a16:creationId xmlns:a16="http://schemas.microsoft.com/office/drawing/2014/main" id="{E5A579BC-A6AC-4B42-88BB-2536109F3BD3}"/>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81" name="Freeform: Shape 380">
                <a:extLst>
                  <a:ext uri="{FF2B5EF4-FFF2-40B4-BE49-F238E27FC236}">
                    <a16:creationId xmlns:a16="http://schemas.microsoft.com/office/drawing/2014/main" id="{CF99DAF5-C266-44D1-8F51-08567EF35F5A}"/>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82" name="Freeform: Shape 381">
                <a:extLst>
                  <a:ext uri="{FF2B5EF4-FFF2-40B4-BE49-F238E27FC236}">
                    <a16:creationId xmlns:a16="http://schemas.microsoft.com/office/drawing/2014/main" id="{95DABF61-B0B0-4456-8AB2-36EE00CEB11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defTabSz="914330">
                  <a:defRPr/>
                </a:pPr>
                <a:endParaRPr lang="en-US">
                  <a:solidFill>
                    <a:srgbClr val="FFFFFF"/>
                  </a:solidFill>
                  <a:latin typeface="Segoe UI"/>
                </a:endParaRPr>
              </a:p>
            </p:txBody>
          </p:sp>
          <p:grpSp>
            <p:nvGrpSpPr>
              <p:cNvPr id="383" name="Graphic 5">
                <a:extLst>
                  <a:ext uri="{FF2B5EF4-FFF2-40B4-BE49-F238E27FC236}">
                    <a16:creationId xmlns:a16="http://schemas.microsoft.com/office/drawing/2014/main" id="{457E82A3-0E5B-4EF8-8E9B-ACD76E0D0878}"/>
                  </a:ext>
                </a:extLst>
              </p:cNvPr>
              <p:cNvGrpSpPr/>
              <p:nvPr/>
            </p:nvGrpSpPr>
            <p:grpSpPr>
              <a:xfrm>
                <a:off x="9436489" y="4480664"/>
                <a:ext cx="84221" cy="63366"/>
                <a:chOff x="9436489" y="4480664"/>
                <a:chExt cx="84221" cy="63366"/>
              </a:xfrm>
              <a:solidFill>
                <a:srgbClr val="FFFFFF"/>
              </a:solidFill>
            </p:grpSpPr>
            <p:sp>
              <p:nvSpPr>
                <p:cNvPr id="396" name="Freeform: Shape 395">
                  <a:extLst>
                    <a:ext uri="{FF2B5EF4-FFF2-40B4-BE49-F238E27FC236}">
                      <a16:creationId xmlns:a16="http://schemas.microsoft.com/office/drawing/2014/main" id="{C033C338-60C7-4958-8873-09ED2DDB6ABF}"/>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97" name="Freeform: Shape 396">
                  <a:extLst>
                    <a:ext uri="{FF2B5EF4-FFF2-40B4-BE49-F238E27FC236}">
                      <a16:creationId xmlns:a16="http://schemas.microsoft.com/office/drawing/2014/main" id="{A9733AEA-4542-40D2-BE0D-E6CB5A65250A}"/>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84" name="Graphic 5">
                <a:extLst>
                  <a:ext uri="{FF2B5EF4-FFF2-40B4-BE49-F238E27FC236}">
                    <a16:creationId xmlns:a16="http://schemas.microsoft.com/office/drawing/2014/main" id="{EDDAF563-275E-4A24-BC7B-3660982432B7}"/>
                  </a:ext>
                </a:extLst>
              </p:cNvPr>
              <p:cNvGrpSpPr/>
              <p:nvPr/>
            </p:nvGrpSpPr>
            <p:grpSpPr>
              <a:xfrm>
                <a:off x="9436489" y="4564083"/>
                <a:ext cx="84221" cy="63366"/>
                <a:chOff x="9436489" y="4564083"/>
                <a:chExt cx="84221" cy="63366"/>
              </a:xfrm>
              <a:solidFill>
                <a:srgbClr val="FFFFFF"/>
              </a:solidFill>
            </p:grpSpPr>
            <p:sp>
              <p:nvSpPr>
                <p:cNvPr id="394" name="Freeform: Shape 393">
                  <a:extLst>
                    <a:ext uri="{FF2B5EF4-FFF2-40B4-BE49-F238E27FC236}">
                      <a16:creationId xmlns:a16="http://schemas.microsoft.com/office/drawing/2014/main" id="{3A18463A-B35B-4DC2-8C99-03EC3A5E3D18}"/>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95" name="Freeform: Shape 394">
                  <a:extLst>
                    <a:ext uri="{FF2B5EF4-FFF2-40B4-BE49-F238E27FC236}">
                      <a16:creationId xmlns:a16="http://schemas.microsoft.com/office/drawing/2014/main" id="{0398C4AC-B263-4E5E-ABA5-0947E0A9839E}"/>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85" name="Graphic 5">
                <a:extLst>
                  <a:ext uri="{FF2B5EF4-FFF2-40B4-BE49-F238E27FC236}">
                    <a16:creationId xmlns:a16="http://schemas.microsoft.com/office/drawing/2014/main" id="{76A5CD7A-57E6-4C6E-9E25-543DF8E7ECAD}"/>
                  </a:ext>
                </a:extLst>
              </p:cNvPr>
              <p:cNvGrpSpPr/>
              <p:nvPr/>
            </p:nvGrpSpPr>
            <p:grpSpPr>
              <a:xfrm>
                <a:off x="9436489" y="4647502"/>
                <a:ext cx="84221" cy="63366"/>
                <a:chOff x="9436489" y="4647502"/>
                <a:chExt cx="84221" cy="63366"/>
              </a:xfrm>
              <a:solidFill>
                <a:srgbClr val="FFFFFF"/>
              </a:solidFill>
            </p:grpSpPr>
            <p:sp>
              <p:nvSpPr>
                <p:cNvPr id="392" name="Freeform: Shape 391">
                  <a:extLst>
                    <a:ext uri="{FF2B5EF4-FFF2-40B4-BE49-F238E27FC236}">
                      <a16:creationId xmlns:a16="http://schemas.microsoft.com/office/drawing/2014/main" id="{A86B787A-3E9A-47C3-9CDA-136CDC34FA62}"/>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93" name="Freeform: Shape 392">
                  <a:extLst>
                    <a:ext uri="{FF2B5EF4-FFF2-40B4-BE49-F238E27FC236}">
                      <a16:creationId xmlns:a16="http://schemas.microsoft.com/office/drawing/2014/main" id="{AD6322B2-A079-43B6-ABB5-AF2443A77DC7}"/>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86" name="Graphic 5">
                <a:extLst>
                  <a:ext uri="{FF2B5EF4-FFF2-40B4-BE49-F238E27FC236}">
                    <a16:creationId xmlns:a16="http://schemas.microsoft.com/office/drawing/2014/main" id="{9B604205-4E0A-44D3-9840-AF8C6DFF30DA}"/>
                  </a:ext>
                </a:extLst>
              </p:cNvPr>
              <p:cNvGrpSpPr/>
              <p:nvPr/>
            </p:nvGrpSpPr>
            <p:grpSpPr>
              <a:xfrm>
                <a:off x="9436489" y="4730921"/>
                <a:ext cx="84221" cy="63366"/>
                <a:chOff x="9436489" y="4730921"/>
                <a:chExt cx="84221" cy="63366"/>
              </a:xfrm>
              <a:solidFill>
                <a:srgbClr val="FFFFFF"/>
              </a:solidFill>
            </p:grpSpPr>
            <p:sp>
              <p:nvSpPr>
                <p:cNvPr id="390" name="Freeform: Shape 389">
                  <a:extLst>
                    <a:ext uri="{FF2B5EF4-FFF2-40B4-BE49-F238E27FC236}">
                      <a16:creationId xmlns:a16="http://schemas.microsoft.com/office/drawing/2014/main" id="{D0CCAFC0-4E1B-4957-905D-AF0AB17A834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91" name="Freeform: Shape 390">
                  <a:extLst>
                    <a:ext uri="{FF2B5EF4-FFF2-40B4-BE49-F238E27FC236}">
                      <a16:creationId xmlns:a16="http://schemas.microsoft.com/office/drawing/2014/main" id="{7F0EDE89-D19F-4275-8819-CA763E16246D}"/>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nvGrpSpPr>
              <p:cNvPr id="387" name="Graphic 5">
                <a:extLst>
                  <a:ext uri="{FF2B5EF4-FFF2-40B4-BE49-F238E27FC236}">
                    <a16:creationId xmlns:a16="http://schemas.microsoft.com/office/drawing/2014/main" id="{828FEBAB-B640-4D14-8EBC-CD72125341BB}"/>
                  </a:ext>
                </a:extLst>
              </p:cNvPr>
              <p:cNvGrpSpPr/>
              <p:nvPr/>
            </p:nvGrpSpPr>
            <p:grpSpPr>
              <a:xfrm>
                <a:off x="9436489" y="4814340"/>
                <a:ext cx="84221" cy="63366"/>
                <a:chOff x="9436489" y="4814340"/>
                <a:chExt cx="84221" cy="63366"/>
              </a:xfrm>
              <a:solidFill>
                <a:srgbClr val="FFFFFF"/>
              </a:solidFill>
            </p:grpSpPr>
            <p:sp>
              <p:nvSpPr>
                <p:cNvPr id="388" name="Freeform: Shape 387">
                  <a:extLst>
                    <a:ext uri="{FF2B5EF4-FFF2-40B4-BE49-F238E27FC236}">
                      <a16:creationId xmlns:a16="http://schemas.microsoft.com/office/drawing/2014/main" id="{5C667074-D320-4221-AF8F-A647BA97E6B5}"/>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sp>
              <p:nvSpPr>
                <p:cNvPr id="389" name="Freeform: Shape 388">
                  <a:extLst>
                    <a:ext uri="{FF2B5EF4-FFF2-40B4-BE49-F238E27FC236}">
                      <a16:creationId xmlns:a16="http://schemas.microsoft.com/office/drawing/2014/main" id="{3674E15E-9FE0-4FF3-B1BC-982AC593966B}"/>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defTabSz="914330">
                    <a:defRPr/>
                  </a:pPr>
                  <a:endParaRPr lang="en-US">
                    <a:solidFill>
                      <a:srgbClr val="FFFFFF"/>
                    </a:solidFill>
                    <a:latin typeface="Segoe UI"/>
                  </a:endParaRPr>
                </a:p>
              </p:txBody>
            </p:sp>
          </p:grpSp>
        </p:grpSp>
      </p:grpSp>
      <p:sp>
        <p:nvSpPr>
          <p:cNvPr id="3" name="Rectangle 2">
            <a:extLst>
              <a:ext uri="{FF2B5EF4-FFF2-40B4-BE49-F238E27FC236}">
                <a16:creationId xmlns:a16="http://schemas.microsoft.com/office/drawing/2014/main" id="{9EE97E9C-E9EA-4346-85E9-EED063E41502}"/>
              </a:ext>
            </a:extLst>
          </p:cNvPr>
          <p:cNvSpPr/>
          <p:nvPr/>
        </p:nvSpPr>
        <p:spPr bwMode="auto">
          <a:xfrm>
            <a:off x="905118" y="875079"/>
            <a:ext cx="10509250" cy="29950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F07BDC89-619D-44FD-8F4F-15E2418D7E9D}"/>
              </a:ext>
            </a:extLst>
          </p:cNvPr>
          <p:cNvSpPr txBox="1"/>
          <p:nvPr/>
        </p:nvSpPr>
        <p:spPr>
          <a:xfrm>
            <a:off x="1092599" y="1054492"/>
            <a:ext cx="10192604" cy="359009"/>
          </a:xfrm>
          <a:prstGeom prst="rect">
            <a:avLst/>
          </a:prstGeom>
          <a:noFill/>
        </p:spPr>
        <p:txBody>
          <a:bodyPr wrap="square" lIns="0" tIns="0" rIns="0" bIns="0" rtlCol="0">
            <a:spAutoFit/>
          </a:bodyPr>
          <a:lstStyle/>
          <a:p>
            <a:pPr defTabSz="914363"/>
            <a:r>
              <a:rPr lang="en-US" sz="1500" dirty="0">
                <a:solidFill>
                  <a:srgbClr val="FFFFFF"/>
                </a:solidFill>
                <a:latin typeface="Segoe UI"/>
              </a:rPr>
              <a:t>Each </a:t>
            </a:r>
            <a:r>
              <a:rPr lang="en-US" sz="2333" dirty="0">
                <a:solidFill>
                  <a:srgbClr val="000000">
                    <a:lumMod val="85000"/>
                    <a:lumOff val="15000"/>
                  </a:srgbClr>
                </a:solidFill>
                <a:latin typeface="Segoe UI"/>
              </a:rPr>
              <a:t>landing zone</a:t>
            </a:r>
            <a:r>
              <a:rPr lang="en-US" sz="2000" dirty="0">
                <a:solidFill>
                  <a:srgbClr val="FFFFFF"/>
                </a:solidFill>
                <a:latin typeface="Segoe UI"/>
              </a:rPr>
              <a:t> </a:t>
            </a:r>
            <a:r>
              <a:rPr lang="en-US" sz="1500" dirty="0">
                <a:solidFill>
                  <a:srgbClr val="FFFFFF"/>
                </a:solidFill>
                <a:latin typeface="Segoe UI"/>
              </a:rPr>
              <a:t>supports one ore more applications in your cloud portfolio using the inherited controls</a:t>
            </a:r>
          </a:p>
        </p:txBody>
      </p:sp>
      <p:grpSp>
        <p:nvGrpSpPr>
          <p:cNvPr id="452" name="Group 451">
            <a:extLst>
              <a:ext uri="{FF2B5EF4-FFF2-40B4-BE49-F238E27FC236}">
                <a16:creationId xmlns:a16="http://schemas.microsoft.com/office/drawing/2014/main" id="{6FBCA20E-E7F5-4B9A-B44D-6E5A2C76275D}"/>
              </a:ext>
            </a:extLst>
          </p:cNvPr>
          <p:cNvGrpSpPr/>
          <p:nvPr/>
        </p:nvGrpSpPr>
        <p:grpSpPr>
          <a:xfrm>
            <a:off x="8178698" y="1681211"/>
            <a:ext cx="2729055" cy="1904974"/>
            <a:chOff x="8351547" y="4932191"/>
            <a:chExt cx="3274866" cy="2285968"/>
          </a:xfrm>
        </p:grpSpPr>
        <p:sp>
          <p:nvSpPr>
            <p:cNvPr id="442" name="Rectangle 441">
              <a:extLst>
                <a:ext uri="{FF2B5EF4-FFF2-40B4-BE49-F238E27FC236}">
                  <a16:creationId xmlns:a16="http://schemas.microsoft.com/office/drawing/2014/main" id="{4D6C71EC-6762-4127-AD5F-B2620EC302FD}"/>
                </a:ext>
              </a:extLst>
            </p:cNvPr>
            <p:cNvSpPr/>
            <p:nvPr/>
          </p:nvSpPr>
          <p:spPr>
            <a:xfrm>
              <a:off x="9416857" y="5531164"/>
              <a:ext cx="1284119" cy="810708"/>
            </a:xfrm>
            <a:prstGeom prst="rect">
              <a:avLst/>
            </a:prstGeom>
            <a:solidFill>
              <a:srgbClr val="A5A5A5"/>
            </a:solidFill>
            <a:ln w="12700" cap="flat" cmpd="sng" algn="ctr">
              <a:solidFill>
                <a:srgbClr val="A5A5A5">
                  <a:shade val="50000"/>
                </a:srgbClr>
              </a:solidFill>
              <a:prstDash val="solid"/>
              <a:miter lim="800000"/>
            </a:ln>
            <a:effectLst/>
          </p:spPr>
          <p:txBody>
            <a:bodyPr rtlCol="0" anchor="t"/>
            <a:lstStyle/>
            <a:p>
              <a:pPr algn="ctr" defTabSz="761970">
                <a:defRPr/>
              </a:pPr>
              <a:r>
                <a:rPr lang="en-US" sz="1000" kern="0">
                  <a:solidFill>
                    <a:prstClr val="white"/>
                  </a:solidFill>
                  <a:latin typeface="Calibri" panose="020F0502020204030204"/>
                </a:rPr>
                <a:t>Workload</a:t>
              </a:r>
            </a:p>
          </p:txBody>
        </p:sp>
        <p:grpSp>
          <p:nvGrpSpPr>
            <p:cNvPr id="443" name="Group 442">
              <a:extLst>
                <a:ext uri="{FF2B5EF4-FFF2-40B4-BE49-F238E27FC236}">
                  <a16:creationId xmlns:a16="http://schemas.microsoft.com/office/drawing/2014/main" id="{6D02BB5A-D492-4A6D-834D-C6F557D6405E}"/>
                </a:ext>
              </a:extLst>
            </p:cNvPr>
            <p:cNvGrpSpPr/>
            <p:nvPr/>
          </p:nvGrpSpPr>
          <p:grpSpPr>
            <a:xfrm>
              <a:off x="8351547" y="4932191"/>
              <a:ext cx="3274866" cy="2285968"/>
              <a:chOff x="8351547" y="3606551"/>
              <a:chExt cx="3274866" cy="2285968"/>
            </a:xfrm>
          </p:grpSpPr>
          <p:pic>
            <p:nvPicPr>
              <p:cNvPr id="444" name="Graphic 443" descr="Cloud outline">
                <a:extLst>
                  <a:ext uri="{FF2B5EF4-FFF2-40B4-BE49-F238E27FC236}">
                    <a16:creationId xmlns:a16="http://schemas.microsoft.com/office/drawing/2014/main" id="{622445ED-BCF8-4287-B532-13D68CE7689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23810" b="23716"/>
              <a:stretch/>
            </p:blipFill>
            <p:spPr>
              <a:xfrm flipH="1">
                <a:off x="8351547" y="3606551"/>
                <a:ext cx="3274866" cy="1718440"/>
              </a:xfrm>
              <a:prstGeom prst="rect">
                <a:avLst/>
              </a:prstGeom>
            </p:spPr>
          </p:pic>
          <p:sp>
            <p:nvSpPr>
              <p:cNvPr id="445" name="TextBox 444">
                <a:extLst>
                  <a:ext uri="{FF2B5EF4-FFF2-40B4-BE49-F238E27FC236}">
                    <a16:creationId xmlns:a16="http://schemas.microsoft.com/office/drawing/2014/main" id="{192CF1D2-7286-4A27-B8F4-5671B9300784}"/>
                  </a:ext>
                </a:extLst>
              </p:cNvPr>
              <p:cNvSpPr txBox="1"/>
              <p:nvPr/>
            </p:nvSpPr>
            <p:spPr>
              <a:xfrm>
                <a:off x="8715051" y="5473865"/>
                <a:ext cx="2673271" cy="418654"/>
              </a:xfrm>
              <a:prstGeom prst="rect">
                <a:avLst/>
              </a:prstGeom>
              <a:noFill/>
            </p:spPr>
            <p:txBody>
              <a:bodyPr wrap="none" rtlCol="0">
                <a:spAutoFit/>
              </a:bodyPr>
              <a:lstStyle/>
              <a:p>
                <a:pPr defTabSz="914363"/>
                <a:r>
                  <a:rPr lang="en-US" sz="1667" b="1" dirty="0">
                    <a:solidFill>
                      <a:prstClr val="white"/>
                    </a:solidFill>
                    <a:latin typeface="Calibri" panose="020F0502020204030204"/>
                  </a:rPr>
                  <a:t>Workload landing zone</a:t>
                </a:r>
              </a:p>
            </p:txBody>
          </p:sp>
        </p:grpSp>
        <p:sp>
          <p:nvSpPr>
            <p:cNvPr id="446" name="Rectangle 445">
              <a:extLst>
                <a:ext uri="{FF2B5EF4-FFF2-40B4-BE49-F238E27FC236}">
                  <a16:creationId xmlns:a16="http://schemas.microsoft.com/office/drawing/2014/main" id="{C4FAEA11-FAFD-4D31-9FBC-262902C1DF11}"/>
                </a:ext>
              </a:extLst>
            </p:cNvPr>
            <p:cNvSpPr/>
            <p:nvPr/>
          </p:nvSpPr>
          <p:spPr>
            <a:xfrm>
              <a:off x="9841197" y="5776630"/>
              <a:ext cx="474019" cy="185526"/>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761970">
                <a:defRPr/>
              </a:pPr>
              <a:r>
                <a:rPr lang="en-US" sz="583" kern="0">
                  <a:solidFill>
                    <a:prstClr val="white"/>
                  </a:solidFill>
                  <a:latin typeface="Calibri" panose="020F0502020204030204"/>
                </a:rPr>
                <a:t>App</a:t>
              </a:r>
            </a:p>
          </p:txBody>
        </p:sp>
        <p:sp>
          <p:nvSpPr>
            <p:cNvPr id="447" name="Rectangle 446">
              <a:extLst>
                <a:ext uri="{FF2B5EF4-FFF2-40B4-BE49-F238E27FC236}">
                  <a16:creationId xmlns:a16="http://schemas.microsoft.com/office/drawing/2014/main" id="{80AEAE74-28CF-4833-B795-1C23ED705D57}"/>
                </a:ext>
              </a:extLst>
            </p:cNvPr>
            <p:cNvSpPr/>
            <p:nvPr/>
          </p:nvSpPr>
          <p:spPr>
            <a:xfrm>
              <a:off x="9530377" y="6054551"/>
              <a:ext cx="409198" cy="233268"/>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761970">
                <a:defRPr/>
              </a:pPr>
              <a:r>
                <a:rPr lang="en-US" sz="583" kern="0">
                  <a:solidFill>
                    <a:prstClr val="white"/>
                  </a:solidFill>
                  <a:latin typeface="Calibri" panose="020F0502020204030204"/>
                </a:rPr>
                <a:t>Infra</a:t>
              </a:r>
            </a:p>
          </p:txBody>
        </p:sp>
        <p:sp>
          <p:nvSpPr>
            <p:cNvPr id="448" name="Rectangle 447">
              <a:extLst>
                <a:ext uri="{FF2B5EF4-FFF2-40B4-BE49-F238E27FC236}">
                  <a16:creationId xmlns:a16="http://schemas.microsoft.com/office/drawing/2014/main" id="{355D3034-D350-4F85-A798-4ABD8EFC6789}"/>
                </a:ext>
              </a:extLst>
            </p:cNvPr>
            <p:cNvSpPr/>
            <p:nvPr/>
          </p:nvSpPr>
          <p:spPr>
            <a:xfrm>
              <a:off x="10085431" y="6056836"/>
              <a:ext cx="537636" cy="25094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761970">
                <a:defRPr/>
              </a:pPr>
              <a:r>
                <a:rPr lang="en-US" sz="583" kern="0">
                  <a:solidFill>
                    <a:prstClr val="white"/>
                  </a:solidFill>
                  <a:latin typeface="Calibri" panose="020F0502020204030204"/>
                </a:rPr>
                <a:t>Data</a:t>
              </a:r>
            </a:p>
          </p:txBody>
        </p:sp>
        <p:cxnSp>
          <p:nvCxnSpPr>
            <p:cNvPr id="449" name="Straight Connector 448">
              <a:extLst>
                <a:ext uri="{FF2B5EF4-FFF2-40B4-BE49-F238E27FC236}">
                  <a16:creationId xmlns:a16="http://schemas.microsoft.com/office/drawing/2014/main" id="{0AD3062D-048F-474B-AF14-4F6C498C7D8A}"/>
                </a:ext>
              </a:extLst>
            </p:cNvPr>
            <p:cNvCxnSpPr>
              <a:cxnSpLocks/>
              <a:stCxn id="447" idx="0"/>
              <a:endCxn id="446" idx="2"/>
            </p:cNvCxnSpPr>
            <p:nvPr/>
          </p:nvCxnSpPr>
          <p:spPr>
            <a:xfrm flipV="1">
              <a:off x="9734976" y="5962156"/>
              <a:ext cx="343231" cy="92395"/>
            </a:xfrm>
            <a:prstGeom prst="line">
              <a:avLst/>
            </a:prstGeom>
            <a:noFill/>
            <a:ln w="19050" cap="flat" cmpd="sng" algn="ctr">
              <a:solidFill>
                <a:srgbClr val="FFFF00"/>
              </a:solidFill>
              <a:prstDash val="solid"/>
              <a:miter lim="800000"/>
            </a:ln>
            <a:effectLst/>
          </p:spPr>
        </p:cxnSp>
        <p:cxnSp>
          <p:nvCxnSpPr>
            <p:cNvPr id="450" name="Straight Connector 449">
              <a:extLst>
                <a:ext uri="{FF2B5EF4-FFF2-40B4-BE49-F238E27FC236}">
                  <a16:creationId xmlns:a16="http://schemas.microsoft.com/office/drawing/2014/main" id="{14C64AE4-C96A-4060-B0D5-A4856427CBF8}"/>
                </a:ext>
              </a:extLst>
            </p:cNvPr>
            <p:cNvCxnSpPr>
              <a:cxnSpLocks/>
              <a:stCxn id="446" idx="2"/>
            </p:cNvCxnSpPr>
            <p:nvPr/>
          </p:nvCxnSpPr>
          <p:spPr>
            <a:xfrm>
              <a:off x="10078207" y="5962156"/>
              <a:ext cx="283932" cy="92748"/>
            </a:xfrm>
            <a:prstGeom prst="line">
              <a:avLst/>
            </a:prstGeom>
            <a:noFill/>
            <a:ln w="19050" cap="flat" cmpd="sng" algn="ctr">
              <a:solidFill>
                <a:srgbClr val="FFFF00"/>
              </a:solidFill>
              <a:prstDash val="solid"/>
              <a:miter lim="800000"/>
            </a:ln>
            <a:effectLst/>
          </p:spPr>
        </p:cxnSp>
        <p:cxnSp>
          <p:nvCxnSpPr>
            <p:cNvPr id="451" name="Straight Connector 450">
              <a:extLst>
                <a:ext uri="{FF2B5EF4-FFF2-40B4-BE49-F238E27FC236}">
                  <a16:creationId xmlns:a16="http://schemas.microsoft.com/office/drawing/2014/main" id="{7A8AC165-39B3-41B7-A89A-1E1D62B51492}"/>
                </a:ext>
              </a:extLst>
            </p:cNvPr>
            <p:cNvCxnSpPr>
              <a:cxnSpLocks/>
              <a:endCxn id="447" idx="3"/>
            </p:cNvCxnSpPr>
            <p:nvPr/>
          </p:nvCxnSpPr>
          <p:spPr>
            <a:xfrm flipH="1" flipV="1">
              <a:off x="9939575" y="6171185"/>
              <a:ext cx="145856" cy="9192"/>
            </a:xfrm>
            <a:prstGeom prst="line">
              <a:avLst/>
            </a:prstGeom>
            <a:noFill/>
            <a:ln w="19050" cap="flat" cmpd="sng" algn="ctr">
              <a:solidFill>
                <a:srgbClr val="FFFF00"/>
              </a:solidFill>
              <a:prstDash val="solid"/>
              <a:miter lim="800000"/>
            </a:ln>
            <a:effectLst/>
          </p:spPr>
        </p:cxnSp>
      </p:grpSp>
      <p:pic>
        <p:nvPicPr>
          <p:cNvPr id="611" name="Picture 610">
            <a:extLst>
              <a:ext uri="{FF2B5EF4-FFF2-40B4-BE49-F238E27FC236}">
                <a16:creationId xmlns:a16="http://schemas.microsoft.com/office/drawing/2014/main" id="{B8709BA7-17BE-4D87-9831-164CF97E2BA1}"/>
              </a:ext>
            </a:extLst>
          </p:cNvPr>
          <p:cNvPicPr>
            <a:picLocks noChangeAspect="1"/>
          </p:cNvPicPr>
          <p:nvPr/>
        </p:nvPicPr>
        <p:blipFill rotWithShape="1">
          <a:blip r:embed="rId7"/>
          <a:srcRect t="21832" b="20724"/>
          <a:stretch/>
        </p:blipFill>
        <p:spPr>
          <a:xfrm>
            <a:off x="1204380" y="1570447"/>
            <a:ext cx="2901751" cy="1666858"/>
          </a:xfrm>
          <a:prstGeom prst="rect">
            <a:avLst/>
          </a:prstGeom>
        </p:spPr>
      </p:pic>
      <p:sp>
        <p:nvSpPr>
          <p:cNvPr id="613" name="TextBox 612">
            <a:extLst>
              <a:ext uri="{FF2B5EF4-FFF2-40B4-BE49-F238E27FC236}">
                <a16:creationId xmlns:a16="http://schemas.microsoft.com/office/drawing/2014/main" id="{C7CB6CEE-E124-4325-BEE2-EDDDFF7E166D}"/>
              </a:ext>
            </a:extLst>
          </p:cNvPr>
          <p:cNvSpPr txBox="1"/>
          <p:nvPr/>
        </p:nvSpPr>
        <p:spPr>
          <a:xfrm>
            <a:off x="1136421" y="3237850"/>
            <a:ext cx="3020570" cy="348878"/>
          </a:xfrm>
          <a:prstGeom prst="rect">
            <a:avLst/>
          </a:prstGeom>
          <a:noFill/>
        </p:spPr>
        <p:txBody>
          <a:bodyPr wrap="none" rtlCol="0">
            <a:spAutoFit/>
          </a:bodyPr>
          <a:lstStyle/>
          <a:p>
            <a:pPr defTabSz="914363"/>
            <a:r>
              <a:rPr lang="en-US" sz="1667" b="1" dirty="0">
                <a:solidFill>
                  <a:prstClr val="white"/>
                </a:solidFill>
                <a:latin typeface="Calibri" panose="020F0502020204030204"/>
              </a:rPr>
              <a:t>Centrally managed landing zone</a:t>
            </a:r>
          </a:p>
        </p:txBody>
      </p:sp>
      <p:grpSp>
        <p:nvGrpSpPr>
          <p:cNvPr id="618" name="Group 617">
            <a:extLst>
              <a:ext uri="{FF2B5EF4-FFF2-40B4-BE49-F238E27FC236}">
                <a16:creationId xmlns:a16="http://schemas.microsoft.com/office/drawing/2014/main" id="{F90D7D80-C6EF-42CE-AC73-204C78300850}"/>
              </a:ext>
            </a:extLst>
          </p:cNvPr>
          <p:cNvGrpSpPr/>
          <p:nvPr/>
        </p:nvGrpSpPr>
        <p:grpSpPr>
          <a:xfrm>
            <a:off x="4762855" y="1721306"/>
            <a:ext cx="2827533" cy="1862012"/>
            <a:chOff x="8351547" y="3606551"/>
            <a:chExt cx="3393040" cy="2234414"/>
          </a:xfrm>
        </p:grpSpPr>
        <p:pic>
          <p:nvPicPr>
            <p:cNvPr id="625" name="Graphic 624" descr="Cloud outline">
              <a:extLst>
                <a:ext uri="{FF2B5EF4-FFF2-40B4-BE49-F238E27FC236}">
                  <a16:creationId xmlns:a16="http://schemas.microsoft.com/office/drawing/2014/main" id="{C78EDD47-A805-42D1-A03E-5221EBEF3C35}"/>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t="23810" b="23716"/>
            <a:stretch/>
          </p:blipFill>
          <p:spPr>
            <a:xfrm flipH="1">
              <a:off x="8351547" y="3606551"/>
              <a:ext cx="3274866" cy="1718440"/>
            </a:xfrm>
            <a:prstGeom prst="rect">
              <a:avLst/>
            </a:prstGeom>
          </p:spPr>
        </p:pic>
        <p:sp>
          <p:nvSpPr>
            <p:cNvPr id="626" name="TextBox 625">
              <a:extLst>
                <a:ext uri="{FF2B5EF4-FFF2-40B4-BE49-F238E27FC236}">
                  <a16:creationId xmlns:a16="http://schemas.microsoft.com/office/drawing/2014/main" id="{89602A27-7774-47A6-B076-E99EBA7ECECB}"/>
                </a:ext>
              </a:extLst>
            </p:cNvPr>
            <p:cNvSpPr txBox="1"/>
            <p:nvPr/>
          </p:nvSpPr>
          <p:spPr>
            <a:xfrm>
              <a:off x="8649200" y="5422311"/>
              <a:ext cx="3095387" cy="418654"/>
            </a:xfrm>
            <a:prstGeom prst="rect">
              <a:avLst/>
            </a:prstGeom>
            <a:noFill/>
          </p:spPr>
          <p:txBody>
            <a:bodyPr wrap="none" rtlCol="0">
              <a:spAutoFit/>
            </a:bodyPr>
            <a:lstStyle/>
            <a:p>
              <a:pPr defTabSz="914363"/>
              <a:r>
                <a:rPr lang="en-US" sz="1667" b="1" dirty="0">
                  <a:solidFill>
                    <a:prstClr val="white"/>
                  </a:solidFill>
                  <a:latin typeface="Calibri" panose="020F0502020204030204"/>
                </a:rPr>
                <a:t>Tech Platform landing zone</a:t>
              </a:r>
            </a:p>
          </p:txBody>
        </p:sp>
      </p:grpSp>
      <p:pic>
        <p:nvPicPr>
          <p:cNvPr id="644" name="Picture 643">
            <a:extLst>
              <a:ext uri="{FF2B5EF4-FFF2-40B4-BE49-F238E27FC236}">
                <a16:creationId xmlns:a16="http://schemas.microsoft.com/office/drawing/2014/main" id="{7CD3BA5C-CF41-40D5-A9C1-1931DA6B9FB8}"/>
              </a:ext>
            </a:extLst>
          </p:cNvPr>
          <p:cNvPicPr>
            <a:picLocks noChangeAspect="1"/>
          </p:cNvPicPr>
          <p:nvPr/>
        </p:nvPicPr>
        <p:blipFill>
          <a:blip r:embed="rId8"/>
          <a:stretch>
            <a:fillRect/>
          </a:stretch>
        </p:blipFill>
        <p:spPr>
          <a:xfrm>
            <a:off x="4965112" y="2305809"/>
            <a:ext cx="548057" cy="261103"/>
          </a:xfrm>
          <a:prstGeom prst="rect">
            <a:avLst/>
          </a:prstGeom>
        </p:spPr>
      </p:pic>
      <p:pic>
        <p:nvPicPr>
          <p:cNvPr id="646" name="Picture 645">
            <a:extLst>
              <a:ext uri="{FF2B5EF4-FFF2-40B4-BE49-F238E27FC236}">
                <a16:creationId xmlns:a16="http://schemas.microsoft.com/office/drawing/2014/main" id="{E0919DF0-4718-4631-9B6E-D34875278C60}"/>
              </a:ext>
            </a:extLst>
          </p:cNvPr>
          <p:cNvPicPr>
            <a:picLocks noChangeAspect="1"/>
          </p:cNvPicPr>
          <p:nvPr/>
        </p:nvPicPr>
        <p:blipFill>
          <a:blip r:embed="rId8"/>
          <a:stretch>
            <a:fillRect/>
          </a:stretch>
        </p:blipFill>
        <p:spPr>
          <a:xfrm>
            <a:off x="5552271" y="2315255"/>
            <a:ext cx="548057" cy="261103"/>
          </a:xfrm>
          <a:prstGeom prst="rect">
            <a:avLst/>
          </a:prstGeom>
        </p:spPr>
      </p:pic>
      <p:pic>
        <p:nvPicPr>
          <p:cNvPr id="648" name="Picture 647">
            <a:extLst>
              <a:ext uri="{FF2B5EF4-FFF2-40B4-BE49-F238E27FC236}">
                <a16:creationId xmlns:a16="http://schemas.microsoft.com/office/drawing/2014/main" id="{042A9EC0-9E8B-4A99-BF90-62FB38B28ECA}"/>
              </a:ext>
            </a:extLst>
          </p:cNvPr>
          <p:cNvPicPr>
            <a:picLocks noChangeAspect="1"/>
          </p:cNvPicPr>
          <p:nvPr/>
        </p:nvPicPr>
        <p:blipFill>
          <a:blip r:embed="rId8"/>
          <a:stretch>
            <a:fillRect/>
          </a:stretch>
        </p:blipFill>
        <p:spPr>
          <a:xfrm>
            <a:off x="6139430" y="2310327"/>
            <a:ext cx="548057" cy="261103"/>
          </a:xfrm>
          <a:prstGeom prst="rect">
            <a:avLst/>
          </a:prstGeom>
        </p:spPr>
      </p:pic>
      <p:pic>
        <p:nvPicPr>
          <p:cNvPr id="650" name="Picture 649">
            <a:extLst>
              <a:ext uri="{FF2B5EF4-FFF2-40B4-BE49-F238E27FC236}">
                <a16:creationId xmlns:a16="http://schemas.microsoft.com/office/drawing/2014/main" id="{81116D77-23BC-4A65-83FE-3C95BE6DC395}"/>
              </a:ext>
            </a:extLst>
          </p:cNvPr>
          <p:cNvPicPr>
            <a:picLocks noChangeAspect="1"/>
          </p:cNvPicPr>
          <p:nvPr/>
        </p:nvPicPr>
        <p:blipFill>
          <a:blip r:embed="rId8"/>
          <a:stretch>
            <a:fillRect/>
          </a:stretch>
        </p:blipFill>
        <p:spPr>
          <a:xfrm>
            <a:off x="6753756" y="2310327"/>
            <a:ext cx="548057" cy="261103"/>
          </a:xfrm>
          <a:prstGeom prst="rect">
            <a:avLst/>
          </a:prstGeom>
        </p:spPr>
      </p:pic>
      <p:sp>
        <p:nvSpPr>
          <p:cNvPr id="651" name="Rectangle 650">
            <a:extLst>
              <a:ext uri="{FF2B5EF4-FFF2-40B4-BE49-F238E27FC236}">
                <a16:creationId xmlns:a16="http://schemas.microsoft.com/office/drawing/2014/main" id="{540CF181-39F5-4A2A-8C32-8B036F480AAC}"/>
              </a:ext>
            </a:extLst>
          </p:cNvPr>
          <p:cNvSpPr/>
          <p:nvPr/>
        </p:nvSpPr>
        <p:spPr bwMode="auto">
          <a:xfrm>
            <a:off x="5011038" y="2628132"/>
            <a:ext cx="2285400" cy="3427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r>
              <a:rPr lang="en-US" sz="1333" dirty="0">
                <a:solidFill>
                  <a:srgbClr val="FFFFFF"/>
                </a:solidFill>
                <a:latin typeface="Segoe UI"/>
                <a:ea typeface="Segoe UI" pitchFamily="34" charset="0"/>
                <a:cs typeface="Segoe UI" pitchFamily="34" charset="0"/>
              </a:rPr>
              <a:t>Landing Zone Accelerator</a:t>
            </a:r>
          </a:p>
        </p:txBody>
      </p:sp>
      <p:sp>
        <p:nvSpPr>
          <p:cNvPr id="5" name="Arrow: Right 4">
            <a:extLst>
              <a:ext uri="{FF2B5EF4-FFF2-40B4-BE49-F238E27FC236}">
                <a16:creationId xmlns:a16="http://schemas.microsoft.com/office/drawing/2014/main" id="{06D52F07-D099-4D73-829C-16BAF2813044}"/>
              </a:ext>
            </a:extLst>
          </p:cNvPr>
          <p:cNvSpPr/>
          <p:nvPr/>
        </p:nvSpPr>
        <p:spPr bwMode="auto">
          <a:xfrm rot="16200000">
            <a:off x="3457812"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6" name="Arrow: Right 5">
            <a:extLst>
              <a:ext uri="{FF2B5EF4-FFF2-40B4-BE49-F238E27FC236}">
                <a16:creationId xmlns:a16="http://schemas.microsoft.com/office/drawing/2014/main" id="{34093BDE-F1E9-40C9-B35B-DE9D775AEEF0}"/>
              </a:ext>
            </a:extLst>
          </p:cNvPr>
          <p:cNvSpPr/>
          <p:nvPr/>
        </p:nvSpPr>
        <p:spPr bwMode="auto">
          <a:xfrm rot="16200000">
            <a:off x="4456654"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8" name="Arrow: Right 7">
            <a:extLst>
              <a:ext uri="{FF2B5EF4-FFF2-40B4-BE49-F238E27FC236}">
                <a16:creationId xmlns:a16="http://schemas.microsoft.com/office/drawing/2014/main" id="{5CB55331-C2BA-4CEC-BC18-42AFFB45D82C}"/>
              </a:ext>
            </a:extLst>
          </p:cNvPr>
          <p:cNvSpPr/>
          <p:nvPr/>
        </p:nvSpPr>
        <p:spPr bwMode="auto">
          <a:xfrm rot="16200000">
            <a:off x="5488358"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9" name="Arrow: Right 8">
            <a:extLst>
              <a:ext uri="{FF2B5EF4-FFF2-40B4-BE49-F238E27FC236}">
                <a16:creationId xmlns:a16="http://schemas.microsoft.com/office/drawing/2014/main" id="{1D7C96A4-4DD0-4955-9317-9FB30139B71D}"/>
              </a:ext>
            </a:extLst>
          </p:cNvPr>
          <p:cNvSpPr/>
          <p:nvPr/>
        </p:nvSpPr>
        <p:spPr bwMode="auto">
          <a:xfrm rot="16200000">
            <a:off x="6472626"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10" name="Arrow: Right 9">
            <a:extLst>
              <a:ext uri="{FF2B5EF4-FFF2-40B4-BE49-F238E27FC236}">
                <a16:creationId xmlns:a16="http://schemas.microsoft.com/office/drawing/2014/main" id="{90B58671-0F11-419F-B8D9-B95AB4E30514}"/>
              </a:ext>
            </a:extLst>
          </p:cNvPr>
          <p:cNvSpPr/>
          <p:nvPr/>
        </p:nvSpPr>
        <p:spPr bwMode="auto">
          <a:xfrm rot="16200000">
            <a:off x="7442563" y="3854772"/>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11" name="Arrow: Right 10">
            <a:extLst>
              <a:ext uri="{FF2B5EF4-FFF2-40B4-BE49-F238E27FC236}">
                <a16:creationId xmlns:a16="http://schemas.microsoft.com/office/drawing/2014/main" id="{D17B097E-C853-480E-98F4-640EC8913767}"/>
              </a:ext>
            </a:extLst>
          </p:cNvPr>
          <p:cNvSpPr/>
          <p:nvPr/>
        </p:nvSpPr>
        <p:spPr bwMode="auto">
          <a:xfrm rot="16200000">
            <a:off x="8423866"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46EF1D60-C397-4DF6-ABF3-31BC4D8798F5}"/>
              </a:ext>
            </a:extLst>
          </p:cNvPr>
          <p:cNvSpPr/>
          <p:nvPr/>
        </p:nvSpPr>
        <p:spPr bwMode="auto">
          <a:xfrm rot="16200000">
            <a:off x="9448774"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BB93EEBB-0CFE-4285-B3A8-7CF16638DF6B}"/>
              </a:ext>
            </a:extLst>
          </p:cNvPr>
          <p:cNvSpPr/>
          <p:nvPr/>
        </p:nvSpPr>
        <p:spPr bwMode="auto">
          <a:xfrm rot="16200000">
            <a:off x="10440375" y="3874335"/>
            <a:ext cx="520059" cy="285550"/>
          </a:xfrm>
          <a:prstGeom prst="rightArrow">
            <a:avLst>
              <a:gd name="adj1" fmla="val 50000"/>
              <a:gd name="adj2" fmla="val 40726"/>
            </a:avLst>
          </a:prstGeom>
          <a:solidFill>
            <a:srgbClr val="00B0F0"/>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1667" dirty="0" err="1">
              <a:solidFill>
                <a:srgbClr val="FFFFFF"/>
              </a:solidFill>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28E37BE2-F823-4414-8188-1A8E4A9FE23A}"/>
              </a:ext>
            </a:extLst>
          </p:cNvPr>
          <p:cNvSpPr txBox="1"/>
          <p:nvPr/>
        </p:nvSpPr>
        <p:spPr>
          <a:xfrm>
            <a:off x="3228730" y="5424987"/>
            <a:ext cx="8146165" cy="538609"/>
          </a:xfrm>
          <a:prstGeom prst="rect">
            <a:avLst/>
          </a:prstGeom>
          <a:noFill/>
        </p:spPr>
        <p:txBody>
          <a:bodyPr wrap="square" lIns="0" tIns="0" rIns="0" bIns="0" rtlCol="0">
            <a:spAutoFit/>
          </a:bodyPr>
          <a:lstStyle/>
          <a:p>
            <a:pPr defTabSz="914363"/>
            <a:r>
              <a:rPr lang="en-US" sz="2000" dirty="0">
                <a:solidFill>
                  <a:srgbClr val="3C3C4A"/>
                </a:solidFill>
                <a:latin typeface="Segoe UI"/>
              </a:rPr>
              <a:t>Azure landing zone implementations </a:t>
            </a:r>
            <a:r>
              <a:rPr lang="en-US" sz="1500" dirty="0">
                <a:solidFill>
                  <a:srgbClr val="FFFFFF"/>
                </a:solidFill>
                <a:latin typeface="Segoe UI"/>
              </a:rPr>
              <a:t>establish an enterprise control plane by defining environmental configuration &amp; controls required for compliant operations management</a:t>
            </a:r>
          </a:p>
        </p:txBody>
      </p:sp>
      <p:sp>
        <p:nvSpPr>
          <p:cNvPr id="171" name="Title 4">
            <a:extLst>
              <a:ext uri="{FF2B5EF4-FFF2-40B4-BE49-F238E27FC236}">
                <a16:creationId xmlns:a16="http://schemas.microsoft.com/office/drawing/2014/main" id="{335349AD-C714-A11E-3C18-8A80F39C671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nn-NO"/>
              <a:t>Cloud adoption framework - READY</a:t>
            </a:r>
            <a:endParaRPr lang="nb-NO"/>
          </a:p>
        </p:txBody>
      </p:sp>
    </p:spTree>
    <p:custDataLst>
      <p:tags r:id="rId1"/>
    </p:custDataLst>
    <p:extLst>
      <p:ext uri="{BB962C8B-B14F-4D97-AF65-F5344CB8AC3E}">
        <p14:creationId xmlns:p14="http://schemas.microsoft.com/office/powerpoint/2010/main" val="3190108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613"/>
                                        </p:tgtEl>
                                        <p:attrNameLst>
                                          <p:attrName>style.visibility</p:attrName>
                                        </p:attrNameLst>
                                      </p:cBhvr>
                                      <p:to>
                                        <p:strVal val="visible"/>
                                      </p:to>
                                    </p:set>
                                    <p:animEffect transition="in" filter="fade">
                                      <p:cBhvr>
                                        <p:cTn id="48" dur="500"/>
                                        <p:tgtEl>
                                          <p:spTgt spid="613"/>
                                        </p:tgtEl>
                                      </p:cBhvr>
                                    </p:animEffect>
                                  </p:childTnLst>
                                </p:cTn>
                              </p:par>
                              <p:par>
                                <p:cTn id="49" presetID="10" presetClass="entr" presetSubtype="0" fill="hold" nodeType="withEffect">
                                  <p:stCondLst>
                                    <p:cond delay="0"/>
                                  </p:stCondLst>
                                  <p:childTnLst>
                                    <p:set>
                                      <p:cBhvr>
                                        <p:cTn id="50" dur="1" fill="hold">
                                          <p:stCondLst>
                                            <p:cond delay="0"/>
                                          </p:stCondLst>
                                        </p:cTn>
                                        <p:tgtEl>
                                          <p:spTgt spid="611"/>
                                        </p:tgtEl>
                                        <p:attrNameLst>
                                          <p:attrName>style.visibility</p:attrName>
                                        </p:attrNameLst>
                                      </p:cBhvr>
                                      <p:to>
                                        <p:strVal val="visible"/>
                                      </p:to>
                                    </p:set>
                                    <p:animEffect transition="in" filter="fade">
                                      <p:cBhvr>
                                        <p:cTn id="51" dur="500"/>
                                        <p:tgtEl>
                                          <p:spTgt spid="61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452"/>
                                        </p:tgtEl>
                                        <p:attrNameLst>
                                          <p:attrName>style.visibility</p:attrName>
                                        </p:attrNameLst>
                                      </p:cBhvr>
                                      <p:to>
                                        <p:strVal val="visible"/>
                                      </p:to>
                                    </p:set>
                                    <p:animEffect transition="in" filter="fade">
                                      <p:cBhvr>
                                        <p:cTn id="56" dur="500"/>
                                        <p:tgtEl>
                                          <p:spTgt spid="45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618"/>
                                        </p:tgtEl>
                                        <p:attrNameLst>
                                          <p:attrName>style.visibility</p:attrName>
                                        </p:attrNameLst>
                                      </p:cBhvr>
                                      <p:to>
                                        <p:strVal val="visible"/>
                                      </p:to>
                                    </p:set>
                                    <p:animEffect transition="in" filter="fade">
                                      <p:cBhvr>
                                        <p:cTn id="61" dur="500"/>
                                        <p:tgtEl>
                                          <p:spTgt spid="618"/>
                                        </p:tgtEl>
                                      </p:cBhvr>
                                    </p:animEffect>
                                  </p:childTnLst>
                                </p:cTn>
                              </p:par>
                              <p:par>
                                <p:cTn id="62" presetID="10" presetClass="entr" presetSubtype="0" fill="hold" nodeType="withEffect">
                                  <p:stCondLst>
                                    <p:cond delay="0"/>
                                  </p:stCondLst>
                                  <p:childTnLst>
                                    <p:set>
                                      <p:cBhvr>
                                        <p:cTn id="63" dur="1" fill="hold">
                                          <p:stCondLst>
                                            <p:cond delay="0"/>
                                          </p:stCondLst>
                                        </p:cTn>
                                        <p:tgtEl>
                                          <p:spTgt spid="644"/>
                                        </p:tgtEl>
                                        <p:attrNameLst>
                                          <p:attrName>style.visibility</p:attrName>
                                        </p:attrNameLst>
                                      </p:cBhvr>
                                      <p:to>
                                        <p:strVal val="visible"/>
                                      </p:to>
                                    </p:set>
                                    <p:animEffect transition="in" filter="fade">
                                      <p:cBhvr>
                                        <p:cTn id="64" dur="500"/>
                                        <p:tgtEl>
                                          <p:spTgt spid="644"/>
                                        </p:tgtEl>
                                      </p:cBhvr>
                                    </p:animEffect>
                                  </p:childTnLst>
                                </p:cTn>
                              </p:par>
                              <p:par>
                                <p:cTn id="65" presetID="10" presetClass="entr" presetSubtype="0" fill="hold" nodeType="withEffect">
                                  <p:stCondLst>
                                    <p:cond delay="0"/>
                                  </p:stCondLst>
                                  <p:childTnLst>
                                    <p:set>
                                      <p:cBhvr>
                                        <p:cTn id="66" dur="1" fill="hold">
                                          <p:stCondLst>
                                            <p:cond delay="0"/>
                                          </p:stCondLst>
                                        </p:cTn>
                                        <p:tgtEl>
                                          <p:spTgt spid="646"/>
                                        </p:tgtEl>
                                        <p:attrNameLst>
                                          <p:attrName>style.visibility</p:attrName>
                                        </p:attrNameLst>
                                      </p:cBhvr>
                                      <p:to>
                                        <p:strVal val="visible"/>
                                      </p:to>
                                    </p:set>
                                    <p:animEffect transition="in" filter="fade">
                                      <p:cBhvr>
                                        <p:cTn id="67" dur="500"/>
                                        <p:tgtEl>
                                          <p:spTgt spid="646"/>
                                        </p:tgtEl>
                                      </p:cBhvr>
                                    </p:animEffect>
                                  </p:childTnLst>
                                </p:cTn>
                              </p:par>
                              <p:par>
                                <p:cTn id="68" presetID="10" presetClass="entr" presetSubtype="0" fill="hold" nodeType="withEffect">
                                  <p:stCondLst>
                                    <p:cond delay="0"/>
                                  </p:stCondLst>
                                  <p:childTnLst>
                                    <p:set>
                                      <p:cBhvr>
                                        <p:cTn id="69" dur="1" fill="hold">
                                          <p:stCondLst>
                                            <p:cond delay="0"/>
                                          </p:stCondLst>
                                        </p:cTn>
                                        <p:tgtEl>
                                          <p:spTgt spid="648"/>
                                        </p:tgtEl>
                                        <p:attrNameLst>
                                          <p:attrName>style.visibility</p:attrName>
                                        </p:attrNameLst>
                                      </p:cBhvr>
                                      <p:to>
                                        <p:strVal val="visible"/>
                                      </p:to>
                                    </p:set>
                                    <p:animEffect transition="in" filter="fade">
                                      <p:cBhvr>
                                        <p:cTn id="70" dur="500"/>
                                        <p:tgtEl>
                                          <p:spTgt spid="648"/>
                                        </p:tgtEl>
                                      </p:cBhvr>
                                    </p:animEffect>
                                  </p:childTnLst>
                                </p:cTn>
                              </p:par>
                              <p:par>
                                <p:cTn id="71" presetID="10" presetClass="entr" presetSubtype="0" fill="hold" nodeType="withEffect">
                                  <p:stCondLst>
                                    <p:cond delay="0"/>
                                  </p:stCondLst>
                                  <p:childTnLst>
                                    <p:set>
                                      <p:cBhvr>
                                        <p:cTn id="72" dur="1" fill="hold">
                                          <p:stCondLst>
                                            <p:cond delay="0"/>
                                          </p:stCondLst>
                                        </p:cTn>
                                        <p:tgtEl>
                                          <p:spTgt spid="650"/>
                                        </p:tgtEl>
                                        <p:attrNameLst>
                                          <p:attrName>style.visibility</p:attrName>
                                        </p:attrNameLst>
                                      </p:cBhvr>
                                      <p:to>
                                        <p:strVal val="visible"/>
                                      </p:to>
                                    </p:set>
                                    <p:animEffect transition="in" filter="fade">
                                      <p:cBhvr>
                                        <p:cTn id="73" dur="500"/>
                                        <p:tgtEl>
                                          <p:spTgt spid="65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51"/>
                                        </p:tgtEl>
                                        <p:attrNameLst>
                                          <p:attrName>style.visibility</p:attrName>
                                        </p:attrNameLst>
                                      </p:cBhvr>
                                      <p:to>
                                        <p:strVal val="visible"/>
                                      </p:to>
                                    </p:set>
                                    <p:animEffect transition="in" filter="fade">
                                      <p:cBhvr>
                                        <p:cTn id="76" dur="500"/>
                                        <p:tgtEl>
                                          <p:spTgt spid="6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613" grpId="0"/>
      <p:bldP spid="651" grpId="0" animBg="1"/>
      <p:bldP spid="5" grpId="0" animBg="1"/>
      <p:bldP spid="6" grpId="0" animBg="1"/>
      <p:bldP spid="8" grpId="0" animBg="1"/>
      <p:bldP spid="9" grpId="0" animBg="1"/>
      <p:bldP spid="10" grpId="0" animBg="1"/>
      <p:bldP spid="11" grpId="0" animBg="1"/>
      <p:bldP spid="1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pic>
        <p:nvPicPr>
          <p:cNvPr id="3" name="Picture 2" descr="Diagram&#10;&#10;Description automatically generated">
            <a:extLst>
              <a:ext uri="{FF2B5EF4-FFF2-40B4-BE49-F238E27FC236}">
                <a16:creationId xmlns:a16="http://schemas.microsoft.com/office/drawing/2014/main" id="{05CB6F44-97D3-4C25-A8F4-5DFFCFD0F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1544" y="1104899"/>
            <a:ext cx="7411942" cy="5608488"/>
          </a:xfrm>
          <a:prstGeom prst="rect">
            <a:avLst/>
          </a:prstGeom>
        </p:spPr>
      </p:pic>
    </p:spTree>
    <p:extLst>
      <p:ext uri="{BB962C8B-B14F-4D97-AF65-F5344CB8AC3E}">
        <p14:creationId xmlns:p14="http://schemas.microsoft.com/office/powerpoint/2010/main" val="559374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sp>
        <p:nvSpPr>
          <p:cNvPr id="6" name="TextBox 5">
            <a:extLst>
              <a:ext uri="{FF2B5EF4-FFF2-40B4-BE49-F238E27FC236}">
                <a16:creationId xmlns:a16="http://schemas.microsoft.com/office/drawing/2014/main" id="{60EE681F-9BBC-4240-B288-E1486907279E}"/>
              </a:ext>
            </a:extLst>
          </p:cNvPr>
          <p:cNvSpPr txBox="1"/>
          <p:nvPr/>
        </p:nvSpPr>
        <p:spPr>
          <a:xfrm>
            <a:off x="911424" y="2276872"/>
            <a:ext cx="9721080" cy="2308324"/>
          </a:xfrm>
          <a:prstGeom prst="rect">
            <a:avLst/>
          </a:prstGeom>
          <a:noFill/>
        </p:spPr>
        <p:txBody>
          <a:bodyPr wrap="square" rtlCol="0">
            <a:spAutoFit/>
          </a:bodyPr>
          <a:lstStyle/>
          <a:p>
            <a:pPr algn="ctr"/>
            <a:r>
              <a:rPr lang="nn-NO" sz="7200" dirty="0"/>
              <a:t>This is </a:t>
            </a:r>
            <a:r>
              <a:rPr lang="nn-NO" sz="7200" dirty="0" err="1"/>
              <a:t>where</a:t>
            </a:r>
            <a:r>
              <a:rPr lang="nn-NO" sz="7200" dirty="0"/>
              <a:t> a </a:t>
            </a:r>
            <a:r>
              <a:rPr lang="nn-NO" sz="7200" dirty="0" err="1"/>
              <a:t>demo</a:t>
            </a:r>
            <a:r>
              <a:rPr lang="nn-NO" sz="7200" dirty="0"/>
              <a:t> </a:t>
            </a:r>
            <a:r>
              <a:rPr lang="nn-NO" sz="7200" dirty="0" err="1"/>
              <a:t>would</a:t>
            </a:r>
            <a:r>
              <a:rPr lang="nn-NO" sz="7200" dirty="0"/>
              <a:t> </a:t>
            </a:r>
            <a:r>
              <a:rPr lang="nn-NO" sz="7200" dirty="0" err="1"/>
              <a:t>appear</a:t>
            </a:r>
            <a:endParaRPr lang="nb-NO" dirty="0"/>
          </a:p>
        </p:txBody>
      </p:sp>
    </p:spTree>
    <p:extLst>
      <p:ext uri="{BB962C8B-B14F-4D97-AF65-F5344CB8AC3E}">
        <p14:creationId xmlns:p14="http://schemas.microsoft.com/office/powerpoint/2010/main" val="4070768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287688" y="1052736"/>
            <a:ext cx="5781098" cy="397545"/>
          </a:xfrm>
        </p:spPr>
        <p:txBody>
          <a:bodyPr/>
          <a:lstStyle/>
          <a:p>
            <a:r>
              <a:rPr lang="en-GB" dirty="0"/>
              <a:t>Agenda</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287688" y="1700808"/>
            <a:ext cx="5781098" cy="2809875"/>
          </a:xfrm>
        </p:spPr>
        <p:txBody>
          <a:bodyPr/>
          <a:lstStyle/>
          <a:p>
            <a:pPr lvl="0"/>
            <a:r>
              <a:rPr lang="en-GB" dirty="0"/>
              <a:t>Everything is code (</a:t>
            </a:r>
            <a:r>
              <a:rPr lang="en-GB" dirty="0" err="1"/>
              <a:t>IaC</a:t>
            </a:r>
            <a:r>
              <a:rPr lang="en-GB" dirty="0"/>
              <a:t>)</a:t>
            </a:r>
          </a:p>
          <a:p>
            <a:pPr lvl="0"/>
            <a:r>
              <a:rPr lang="en-GB" dirty="0"/>
              <a:t>What is the Cloud Adoption Framework</a:t>
            </a:r>
          </a:p>
          <a:p>
            <a:pPr lvl="0"/>
            <a:r>
              <a:rPr lang="en-GB" dirty="0"/>
              <a:t>The cloud foundation</a:t>
            </a:r>
          </a:p>
          <a:p>
            <a:pPr lvl="0"/>
            <a:r>
              <a:rPr lang="en-GB" dirty="0"/>
              <a:t>Scenarios</a:t>
            </a:r>
          </a:p>
          <a:p>
            <a:pPr lvl="0"/>
            <a:r>
              <a:rPr lang="en-GB" dirty="0"/>
              <a:t>What is the Cloud Scale Analytics Scenario</a:t>
            </a:r>
          </a:p>
          <a:p>
            <a:pPr lvl="0"/>
            <a:r>
              <a:rPr lang="en-GB" dirty="0"/>
              <a:t>Why should we use it</a:t>
            </a: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555F2929-A494-3AA9-A936-7381455E32B0}"/>
              </a:ext>
            </a:extLst>
          </p:cNvPr>
          <p:cNvSpPr>
            <a:spLocks noGrp="1"/>
          </p:cNvSpPr>
          <p:nvPr>
            <p:ph type="body" sz="quarter" idx="10"/>
          </p:nvPr>
        </p:nvSpPr>
        <p:spPr/>
        <p:txBody>
          <a:bodyPr/>
          <a:lstStyle/>
          <a:p>
            <a:r>
              <a:rPr lang="nb-NO" dirty="0" err="1"/>
              <a:t>Common</a:t>
            </a:r>
            <a:r>
              <a:rPr lang="nb-NO" dirty="0"/>
              <a:t> </a:t>
            </a:r>
            <a:r>
              <a:rPr lang="nb-NO" dirty="0" err="1"/>
              <a:t>terminology</a:t>
            </a:r>
            <a:endParaRPr lang="nb-NO" dirty="0"/>
          </a:p>
          <a:p>
            <a:pPr marL="514350" indent="-514350">
              <a:buFont typeface="Arial" panose="020B0604020202020204" pitchFamily="34" charset="0"/>
              <a:buChar char="•"/>
            </a:pPr>
            <a:endParaRPr lang="nb-NO" dirty="0"/>
          </a:p>
          <a:p>
            <a:pPr marL="514350" indent="-514350">
              <a:buFont typeface="Arial" panose="020B0604020202020204" pitchFamily="34" charset="0"/>
              <a:buChar char="•"/>
            </a:pPr>
            <a:r>
              <a:rPr lang="nb-NO" dirty="0"/>
              <a:t>Platform</a:t>
            </a:r>
          </a:p>
          <a:p>
            <a:pPr marL="514350" indent="-514350">
              <a:buFont typeface="Arial" panose="020B0604020202020204" pitchFamily="34" charset="0"/>
              <a:buChar char="•"/>
            </a:pPr>
            <a:r>
              <a:rPr lang="nb-NO" dirty="0"/>
              <a:t>Landing Zone(s)</a:t>
            </a:r>
            <a:br>
              <a:rPr lang="nb-NO" dirty="0"/>
            </a:br>
            <a:endParaRPr lang="nb-NO" dirty="0"/>
          </a:p>
          <a:p>
            <a:pPr marL="514350" indent="-514350">
              <a:buFont typeface="Arial" panose="020B0604020202020204" pitchFamily="34" charset="0"/>
              <a:buChar char="•"/>
            </a:pPr>
            <a:r>
              <a:rPr lang="nb-NO" dirty="0" err="1"/>
              <a:t>Hubs</a:t>
            </a:r>
            <a:endParaRPr lang="nb-NO" dirty="0"/>
          </a:p>
          <a:p>
            <a:pPr marL="635000" lvl="1" indent="-457200">
              <a:buFont typeface="Arial" panose="020B0604020202020204" pitchFamily="34" charset="0"/>
              <a:buChar char="•"/>
            </a:pPr>
            <a:r>
              <a:rPr lang="nb-NO" dirty="0"/>
              <a:t>The </a:t>
            </a:r>
            <a:r>
              <a:rPr lang="nb-NO" dirty="0" err="1"/>
              <a:t>networking</a:t>
            </a:r>
            <a:r>
              <a:rPr lang="nb-NO" dirty="0"/>
              <a:t> </a:t>
            </a:r>
            <a:r>
              <a:rPr lang="nb-NO" dirty="0" err="1"/>
              <a:t>core</a:t>
            </a:r>
            <a:r>
              <a:rPr lang="nb-NO" dirty="0"/>
              <a:t> </a:t>
            </a:r>
            <a:r>
              <a:rPr lang="nb-NO" dirty="0" err="1"/>
              <a:t>of</a:t>
            </a:r>
            <a:r>
              <a:rPr lang="nb-NO" dirty="0"/>
              <a:t> </a:t>
            </a:r>
            <a:r>
              <a:rPr lang="nb-NO" dirty="0" err="1"/>
              <a:t>your</a:t>
            </a:r>
            <a:r>
              <a:rPr lang="nb-NO" dirty="0"/>
              <a:t> </a:t>
            </a:r>
            <a:r>
              <a:rPr lang="nb-NO" dirty="0" err="1"/>
              <a:t>setup</a:t>
            </a:r>
            <a:r>
              <a:rPr lang="nb-NO" dirty="0"/>
              <a:t> – </a:t>
            </a:r>
            <a:r>
              <a:rPr lang="nb-NO" dirty="0" err="1"/>
              <a:t>common</a:t>
            </a:r>
            <a:r>
              <a:rPr lang="nb-NO" dirty="0"/>
              <a:t> services</a:t>
            </a:r>
          </a:p>
          <a:p>
            <a:pPr marL="514350" indent="-514350">
              <a:buFont typeface="Arial" panose="020B0604020202020204" pitchFamily="34" charset="0"/>
              <a:buChar char="•"/>
            </a:pPr>
            <a:r>
              <a:rPr lang="nb-NO" dirty="0" err="1"/>
              <a:t>Spokes</a:t>
            </a:r>
            <a:endParaRPr lang="nb-NO" dirty="0"/>
          </a:p>
          <a:p>
            <a:pPr marL="635000" lvl="1" indent="-457200">
              <a:buFont typeface="Arial" panose="020B0604020202020204" pitchFamily="34" charset="0"/>
              <a:buChar char="•"/>
            </a:pPr>
            <a:r>
              <a:rPr lang="nb-NO" dirty="0"/>
              <a:t>The </a:t>
            </a:r>
            <a:r>
              <a:rPr lang="nb-NO" dirty="0" err="1"/>
              <a:t>application</a:t>
            </a:r>
            <a:r>
              <a:rPr lang="nb-NO" dirty="0"/>
              <a:t> or </a:t>
            </a:r>
            <a:r>
              <a:rPr lang="nb-NO" dirty="0" err="1"/>
              <a:t>function</a:t>
            </a:r>
            <a:r>
              <a:rPr lang="nb-NO" dirty="0"/>
              <a:t> </a:t>
            </a:r>
            <a:r>
              <a:rPr lang="nb-NO" dirty="0" err="1"/>
              <a:t>specific</a:t>
            </a:r>
            <a:r>
              <a:rPr lang="nb-NO" dirty="0"/>
              <a:t> area (Data services/Integration services...)</a:t>
            </a:r>
          </a:p>
        </p:txBody>
      </p:sp>
      <p:sp>
        <p:nvSpPr>
          <p:cNvPr id="3" name="Tittel 2">
            <a:extLst>
              <a:ext uri="{FF2B5EF4-FFF2-40B4-BE49-F238E27FC236}">
                <a16:creationId xmlns:a16="http://schemas.microsoft.com/office/drawing/2014/main" id="{DB2AE3AD-8A3E-44D8-83FA-24651FFB5741}"/>
              </a:ext>
            </a:extLst>
          </p:cNvPr>
          <p:cNvSpPr>
            <a:spLocks noGrp="1"/>
          </p:cNvSpPr>
          <p:nvPr>
            <p:ph type="title"/>
          </p:nvPr>
        </p:nvSpPr>
        <p:spPr/>
        <p:txBody>
          <a:bodyPr/>
          <a:lstStyle/>
          <a:p>
            <a:r>
              <a:rPr lang="nb-NO" dirty="0" err="1"/>
              <a:t>Cloud</a:t>
            </a:r>
            <a:r>
              <a:rPr lang="nb-NO" dirty="0"/>
              <a:t> </a:t>
            </a:r>
            <a:r>
              <a:rPr lang="nb-NO" dirty="0" err="1"/>
              <a:t>adoption</a:t>
            </a:r>
            <a:r>
              <a:rPr lang="nb-NO" dirty="0"/>
              <a:t> </a:t>
            </a:r>
            <a:r>
              <a:rPr lang="nb-NO" dirty="0" err="1"/>
              <a:t>framework</a:t>
            </a:r>
            <a:endParaRPr lang="nb-NO" dirty="0"/>
          </a:p>
        </p:txBody>
      </p:sp>
    </p:spTree>
    <p:extLst>
      <p:ext uri="{BB962C8B-B14F-4D97-AF65-F5344CB8AC3E}">
        <p14:creationId xmlns:p14="http://schemas.microsoft.com/office/powerpoint/2010/main" val="2801378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a:r>
              <a:rPr lang="en-GB" dirty="0"/>
              <a:t>Hub - Spoke</a:t>
            </a:r>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Cloud Adoption Framework Platform</a:t>
            </a:r>
          </a:p>
        </p:txBody>
      </p:sp>
      <p:pic>
        <p:nvPicPr>
          <p:cNvPr id="11" name="Picture 10">
            <a:extLst>
              <a:ext uri="{FF2B5EF4-FFF2-40B4-BE49-F238E27FC236}">
                <a16:creationId xmlns:a16="http://schemas.microsoft.com/office/drawing/2014/main" id="{909A91CC-1B2F-40AA-A945-718227F85372}"/>
              </a:ext>
            </a:extLst>
          </p:cNvPr>
          <p:cNvPicPr>
            <a:picLocks noChangeAspect="1"/>
          </p:cNvPicPr>
          <p:nvPr/>
        </p:nvPicPr>
        <p:blipFill>
          <a:blip r:embed="rId2"/>
          <a:stretch>
            <a:fillRect/>
          </a:stretch>
        </p:blipFill>
        <p:spPr>
          <a:xfrm>
            <a:off x="2001122" y="1447200"/>
            <a:ext cx="8919413" cy="4961979"/>
          </a:xfrm>
          <a:prstGeom prst="rect">
            <a:avLst/>
          </a:prstGeom>
        </p:spPr>
      </p:pic>
    </p:spTree>
    <p:extLst>
      <p:ext uri="{BB962C8B-B14F-4D97-AF65-F5344CB8AC3E}">
        <p14:creationId xmlns:p14="http://schemas.microsoft.com/office/powerpoint/2010/main" val="19358359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Nifty toolbox</a:t>
            </a:r>
          </a:p>
          <a:p>
            <a:endParaRPr lang="en-GB" dirty="0"/>
          </a:p>
          <a:p>
            <a:pPr marL="342900" indent="-342900">
              <a:buFont typeface="Arial" panose="020B0604020202020204" pitchFamily="34" charset="0"/>
              <a:buChar char="•"/>
            </a:pPr>
            <a:r>
              <a:rPr lang="en-GB" dirty="0"/>
              <a:t>Azure Naming Tool</a:t>
            </a:r>
          </a:p>
          <a:p>
            <a:pPr marL="342900" indent="-342900">
              <a:buFont typeface="Arial" panose="020B0604020202020204" pitchFamily="34" charset="0"/>
              <a:buChar char="•"/>
            </a:pPr>
            <a:r>
              <a:rPr lang="en-GB" dirty="0"/>
              <a:t>Various templates </a:t>
            </a:r>
          </a:p>
          <a:p>
            <a:pPr marL="342900" indent="-342900">
              <a:buFont typeface="Arial" panose="020B0604020202020204" pitchFamily="34" charset="0"/>
              <a:buChar char="•"/>
            </a:pPr>
            <a:r>
              <a:rPr lang="en-GB" dirty="0"/>
              <a:t>Lots of blueprints – in all 3 </a:t>
            </a:r>
            <a:r>
              <a:rPr lang="en-GB" dirty="0" err="1"/>
              <a:t>IaC</a:t>
            </a:r>
            <a:r>
              <a:rPr lang="en-GB" dirty="0"/>
              <a:t> languages</a:t>
            </a:r>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Cloud Adoption Framework Platform</a:t>
            </a:r>
          </a:p>
        </p:txBody>
      </p:sp>
    </p:spTree>
    <p:extLst>
      <p:ext uri="{BB962C8B-B14F-4D97-AF65-F5344CB8AC3E}">
        <p14:creationId xmlns:p14="http://schemas.microsoft.com/office/powerpoint/2010/main" val="4136076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2007055"/>
            <a:ext cx="12191999" cy="1107996"/>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bg1"/>
                </a:solidFill>
                <a:latin typeface="Ubuntu" panose="020B0504030602030204" pitchFamily="34" charset="0"/>
              </a:rPr>
              <a:t>The scenarios</a:t>
            </a:r>
          </a:p>
        </p:txBody>
      </p:sp>
    </p:spTree>
    <p:extLst>
      <p:ext uri="{BB962C8B-B14F-4D97-AF65-F5344CB8AC3E}">
        <p14:creationId xmlns:p14="http://schemas.microsoft.com/office/powerpoint/2010/main" val="1170595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endParaRPr lang="en-GB" dirty="0"/>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The Scenarios – Enterprise scale</a:t>
            </a:r>
          </a:p>
        </p:txBody>
      </p:sp>
      <p:pic>
        <p:nvPicPr>
          <p:cNvPr id="4098" name="Picture 2" descr="Graphic of the end-to-end scenario components">
            <a:extLst>
              <a:ext uri="{FF2B5EF4-FFF2-40B4-BE49-F238E27FC236}">
                <a16:creationId xmlns:a16="http://schemas.microsoft.com/office/drawing/2014/main" id="{9311991A-50BD-23D4-A078-36731A8DAF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08125"/>
            <a:ext cx="12192000" cy="384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3886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endParaRPr lang="en-GB" dirty="0"/>
          </a:p>
          <a:p>
            <a:pPr marL="342900" indent="-342900">
              <a:buFont typeface="Arial" panose="020B0604020202020204" pitchFamily="34" charset="0"/>
              <a:buChar char="•"/>
            </a:pPr>
            <a:r>
              <a:rPr lang="en-GB" dirty="0"/>
              <a:t>Azure VMware Solution</a:t>
            </a:r>
          </a:p>
          <a:p>
            <a:pPr marL="342900" indent="-342900">
              <a:buFont typeface="Arial" panose="020B0604020202020204" pitchFamily="34" charset="0"/>
              <a:buChar char="•"/>
            </a:pPr>
            <a:r>
              <a:rPr lang="en-GB" dirty="0"/>
              <a:t>Hybrid and multi-cloud</a:t>
            </a:r>
          </a:p>
          <a:p>
            <a:pPr marL="342900" indent="-342900">
              <a:buFont typeface="Arial" panose="020B0604020202020204" pitchFamily="34" charset="0"/>
              <a:buChar char="•"/>
            </a:pPr>
            <a:r>
              <a:rPr lang="en-GB" dirty="0"/>
              <a:t>Modern application platform</a:t>
            </a:r>
          </a:p>
          <a:p>
            <a:pPr marL="342900" indent="-342900">
              <a:buFont typeface="Arial" panose="020B0604020202020204" pitchFamily="34" charset="0"/>
              <a:buChar char="•"/>
            </a:pPr>
            <a:r>
              <a:rPr lang="en-GB" dirty="0"/>
              <a:t>SAP (on Azure)</a:t>
            </a:r>
          </a:p>
          <a:p>
            <a:pPr marL="342900" indent="-342900">
              <a:buFont typeface="Arial" panose="020B0604020202020204" pitchFamily="34" charset="0"/>
              <a:buChar char="•"/>
            </a:pPr>
            <a:r>
              <a:rPr lang="en-GB" dirty="0"/>
              <a:t>Retail industry</a:t>
            </a:r>
          </a:p>
          <a:p>
            <a:pPr marL="342900" indent="-342900">
              <a:buFont typeface="Arial" panose="020B0604020202020204" pitchFamily="34" charset="0"/>
              <a:buChar char="•"/>
            </a:pPr>
            <a:r>
              <a:rPr lang="en-GB" dirty="0"/>
              <a:t>Cloud Scale Analytics (formerly Data Management &amp; Analytics)</a:t>
            </a:r>
          </a:p>
          <a:p>
            <a:endParaRPr lang="en-GB" dirty="0"/>
          </a:p>
          <a:p>
            <a:r>
              <a:rPr lang="en-GB" dirty="0"/>
              <a:t>Note! These are all targeted towards Enterprise scale!</a:t>
            </a:r>
          </a:p>
          <a:p>
            <a:endParaRPr lang="en-GB" dirty="0"/>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The Scenarios – Enterprise scale</a:t>
            </a:r>
          </a:p>
        </p:txBody>
      </p:sp>
    </p:spTree>
    <p:extLst>
      <p:ext uri="{BB962C8B-B14F-4D97-AF65-F5344CB8AC3E}">
        <p14:creationId xmlns:p14="http://schemas.microsoft.com/office/powerpoint/2010/main" val="3652546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7" name="Text Placeholder 1">
            <a:extLst>
              <a:ext uri="{FF2B5EF4-FFF2-40B4-BE49-F238E27FC236}">
                <a16:creationId xmlns:a16="http://schemas.microsoft.com/office/drawing/2014/main" id="{5883227B-676A-353F-9738-37F477064B57}"/>
              </a:ext>
            </a:extLst>
          </p:cNvPr>
          <p:cNvSpPr>
            <a:spLocks noGrp="1"/>
          </p:cNvSpPr>
          <p:nvPr>
            <p:ph type="body" sz="quarter" idx="10"/>
          </p:nvPr>
        </p:nvSpPr>
        <p:spPr>
          <a:xfrm>
            <a:off x="406399" y="1122258"/>
            <a:ext cx="11379201" cy="5022612"/>
          </a:xfrm>
        </p:spPr>
        <p:txBody>
          <a:bodyPr/>
          <a:lstStyle/>
          <a:p>
            <a:r>
              <a:rPr lang="en-GB" dirty="0"/>
              <a:t>Modern data platforms consists of lots of moving parts</a:t>
            </a:r>
          </a:p>
          <a:p>
            <a:endParaRPr lang="en-GB" dirty="0"/>
          </a:p>
          <a:p>
            <a:endParaRPr lang="en-GB" dirty="0"/>
          </a:p>
        </p:txBody>
      </p:sp>
    </p:spTree>
    <p:extLst>
      <p:ext uri="{BB962C8B-B14F-4D97-AF65-F5344CB8AC3E}">
        <p14:creationId xmlns:p14="http://schemas.microsoft.com/office/powerpoint/2010/main" val="3671192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7" name="Text Placeholder 1">
            <a:extLst>
              <a:ext uri="{FF2B5EF4-FFF2-40B4-BE49-F238E27FC236}">
                <a16:creationId xmlns:a16="http://schemas.microsoft.com/office/drawing/2014/main" id="{5883227B-676A-353F-9738-37F477064B57}"/>
              </a:ext>
            </a:extLst>
          </p:cNvPr>
          <p:cNvSpPr>
            <a:spLocks noGrp="1"/>
          </p:cNvSpPr>
          <p:nvPr>
            <p:ph type="body" sz="quarter" idx="10"/>
          </p:nvPr>
        </p:nvSpPr>
        <p:spPr>
          <a:xfrm>
            <a:off x="406399" y="1122258"/>
            <a:ext cx="11379201" cy="5022612"/>
          </a:xfrm>
        </p:spPr>
        <p:txBody>
          <a:bodyPr/>
          <a:lstStyle/>
          <a:p>
            <a:r>
              <a:rPr lang="en-GB" dirty="0"/>
              <a:t>Modern data platforms consists of lots of moving parts</a:t>
            </a:r>
          </a:p>
          <a:p>
            <a:endParaRPr lang="en-GB" dirty="0"/>
          </a:p>
          <a:p>
            <a:endParaRPr lang="en-GB" dirty="0"/>
          </a:p>
        </p:txBody>
      </p:sp>
      <p:pic>
        <p:nvPicPr>
          <p:cNvPr id="4" name="Content Placeholder 2" descr="Graphical user interface&#10;&#10;Description automatically generated">
            <a:extLst>
              <a:ext uri="{FF2B5EF4-FFF2-40B4-BE49-F238E27FC236}">
                <a16:creationId xmlns:a16="http://schemas.microsoft.com/office/drawing/2014/main" id="{25DFFB12-2C5F-7946-E5EE-2CBBAD67CE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3592" y="1412776"/>
            <a:ext cx="7704856" cy="5329602"/>
          </a:xfrm>
          <a:prstGeom prst="rect">
            <a:avLst/>
          </a:prstGeom>
        </p:spPr>
      </p:pic>
    </p:spTree>
    <p:extLst>
      <p:ext uri="{BB962C8B-B14F-4D97-AF65-F5344CB8AC3E}">
        <p14:creationId xmlns:p14="http://schemas.microsoft.com/office/powerpoint/2010/main" val="40457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7" name="Text Placeholder 1">
            <a:extLst>
              <a:ext uri="{FF2B5EF4-FFF2-40B4-BE49-F238E27FC236}">
                <a16:creationId xmlns:a16="http://schemas.microsoft.com/office/drawing/2014/main" id="{5883227B-676A-353F-9738-37F477064B57}"/>
              </a:ext>
            </a:extLst>
          </p:cNvPr>
          <p:cNvSpPr>
            <a:spLocks noGrp="1"/>
          </p:cNvSpPr>
          <p:nvPr>
            <p:ph type="body" sz="quarter" idx="10"/>
          </p:nvPr>
        </p:nvSpPr>
        <p:spPr>
          <a:xfrm>
            <a:off x="406399" y="1122258"/>
            <a:ext cx="11379201" cy="5022612"/>
          </a:xfrm>
        </p:spPr>
        <p:txBody>
          <a:bodyPr/>
          <a:lstStyle/>
          <a:p>
            <a:r>
              <a:rPr lang="en-GB" dirty="0"/>
              <a:t>Modern data platforms consists of lots of moving parts</a:t>
            </a:r>
          </a:p>
          <a:p>
            <a:endParaRPr lang="en-GB" dirty="0"/>
          </a:p>
          <a:p>
            <a:endParaRPr lang="en-GB" dirty="0"/>
          </a:p>
        </p:txBody>
      </p:sp>
      <p:pic>
        <p:nvPicPr>
          <p:cNvPr id="5" name="Picture 3">
            <a:extLst>
              <a:ext uri="{FF2B5EF4-FFF2-40B4-BE49-F238E27FC236}">
                <a16:creationId xmlns:a16="http://schemas.microsoft.com/office/drawing/2014/main" id="{525AEF7F-9E29-E1FC-FCED-9E7FEFA2F8F4}"/>
              </a:ext>
            </a:extLst>
          </p:cNvPr>
          <p:cNvPicPr>
            <a:picLocks noChangeAspect="1"/>
          </p:cNvPicPr>
          <p:nvPr/>
        </p:nvPicPr>
        <p:blipFill>
          <a:blip r:embed="rId2"/>
          <a:stretch>
            <a:fillRect/>
          </a:stretch>
        </p:blipFill>
        <p:spPr>
          <a:xfrm>
            <a:off x="1838208" y="1572415"/>
            <a:ext cx="8515584" cy="5167120"/>
          </a:xfrm>
          <a:prstGeom prst="rect">
            <a:avLst/>
          </a:prstGeom>
        </p:spPr>
      </p:pic>
    </p:spTree>
    <p:extLst>
      <p:ext uri="{BB962C8B-B14F-4D97-AF65-F5344CB8AC3E}">
        <p14:creationId xmlns:p14="http://schemas.microsoft.com/office/powerpoint/2010/main" val="1924555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scale</a:t>
            </a:r>
            <a:r>
              <a:rPr lang="nb-NO" b="1" dirty="0"/>
              <a:t> </a:t>
            </a:r>
            <a:r>
              <a:rPr lang="nb-NO" b="1" dirty="0" err="1"/>
              <a:t>analytics</a:t>
            </a:r>
            <a:br>
              <a:rPr lang="nb-NO" b="1" dirty="0"/>
            </a:br>
            <a:endParaRPr lang="nb-NO" dirty="0"/>
          </a:p>
        </p:txBody>
      </p:sp>
      <p:sp>
        <p:nvSpPr>
          <p:cNvPr id="7" name="Text Placeholder 1">
            <a:extLst>
              <a:ext uri="{FF2B5EF4-FFF2-40B4-BE49-F238E27FC236}">
                <a16:creationId xmlns:a16="http://schemas.microsoft.com/office/drawing/2014/main" id="{5883227B-676A-353F-9738-37F477064B57}"/>
              </a:ext>
            </a:extLst>
          </p:cNvPr>
          <p:cNvSpPr>
            <a:spLocks noGrp="1"/>
          </p:cNvSpPr>
          <p:nvPr>
            <p:ph type="body" sz="quarter" idx="10"/>
          </p:nvPr>
        </p:nvSpPr>
        <p:spPr>
          <a:xfrm>
            <a:off x="406399" y="1122258"/>
            <a:ext cx="11379201" cy="5022612"/>
          </a:xfrm>
        </p:spPr>
        <p:txBody>
          <a:bodyPr/>
          <a:lstStyle/>
          <a:p>
            <a:r>
              <a:rPr lang="en-GB" dirty="0"/>
              <a:t>Modern data platforms consists of lots of moving parts</a:t>
            </a:r>
          </a:p>
          <a:p>
            <a:r>
              <a:rPr lang="en-GB" dirty="0"/>
              <a:t> i.e. data </a:t>
            </a:r>
            <a:r>
              <a:rPr lang="en-GB" dirty="0" err="1"/>
              <a:t>lakehouse</a:t>
            </a:r>
            <a:r>
              <a:rPr lang="en-GB" dirty="0"/>
              <a:t> or data mesh</a:t>
            </a:r>
          </a:p>
          <a:p>
            <a:endParaRPr lang="en-GB" dirty="0"/>
          </a:p>
          <a:p>
            <a:r>
              <a:rPr lang="en-GB" dirty="0"/>
              <a:t>But while architectural complexity increases, the ability to plan and control the complexity is in your hands.</a:t>
            </a:r>
          </a:p>
          <a:p>
            <a:endParaRPr lang="en-GB" dirty="0"/>
          </a:p>
          <a:p>
            <a:r>
              <a:rPr lang="en-GB" dirty="0"/>
              <a:t>With </a:t>
            </a:r>
            <a:r>
              <a:rPr lang="en-GB" dirty="0" err="1"/>
              <a:t>IaC</a:t>
            </a:r>
            <a:r>
              <a:rPr lang="en-GB" dirty="0"/>
              <a:t> and the CAF accelerators - or scenarios you get help</a:t>
            </a:r>
          </a:p>
          <a:p>
            <a:endParaRPr lang="en-GB" dirty="0"/>
          </a:p>
          <a:p>
            <a:endParaRPr lang="en-GB" dirty="0"/>
          </a:p>
        </p:txBody>
      </p:sp>
    </p:spTree>
    <p:extLst>
      <p:ext uri="{BB962C8B-B14F-4D97-AF65-F5344CB8AC3E}">
        <p14:creationId xmlns:p14="http://schemas.microsoft.com/office/powerpoint/2010/main" val="3252509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Everything is code</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
        <p:nvSpPr>
          <p:cNvPr id="2" name="AutoShape 2" descr="Diagram that shows an overview of the Cloud Adoption Framework.">
            <a:extLst>
              <a:ext uri="{FF2B5EF4-FFF2-40B4-BE49-F238E27FC236}">
                <a16:creationId xmlns:a16="http://schemas.microsoft.com/office/drawing/2014/main" id="{6F1B2532-6B0C-4A1B-96B9-D9D66FFF76D5}"/>
              </a:ext>
            </a:extLst>
          </p:cNvPr>
          <p:cNvSpPr>
            <a:spLocks noGrp="1" noChangeAspect="1" noChangeArrowheads="1"/>
          </p:cNvSpPr>
          <p:nvPr>
            <p:ph sz="half" idx="11"/>
          </p:nvPr>
        </p:nvSpPr>
        <p:spPr bwMode="auto">
          <a:xfrm>
            <a:off x="404813" y="2924175"/>
            <a:ext cx="5784850" cy="23050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r>
              <a:rPr lang="nn-NO" dirty="0"/>
              <a:t>ARM</a:t>
            </a:r>
          </a:p>
          <a:p>
            <a:r>
              <a:rPr lang="nn-NO" dirty="0" err="1"/>
              <a:t>Terraform</a:t>
            </a:r>
            <a:endParaRPr lang="nn-NO" dirty="0"/>
          </a:p>
          <a:p>
            <a:r>
              <a:rPr lang="nn-NO" dirty="0" err="1"/>
              <a:t>Bicep</a:t>
            </a:r>
            <a:endParaRPr lang="nn-NO" dirty="0"/>
          </a:p>
          <a:p>
            <a:endParaRPr lang="nn-NO" dirty="0"/>
          </a:p>
          <a:p>
            <a:r>
              <a:rPr lang="nn-NO" dirty="0"/>
              <a:t>Landing Zone </a:t>
            </a:r>
            <a:r>
              <a:rPr lang="nn-NO" dirty="0" err="1"/>
              <a:t>blueprints</a:t>
            </a:r>
            <a:r>
              <a:rPr lang="nn-NO" dirty="0"/>
              <a:t> </a:t>
            </a:r>
            <a:r>
              <a:rPr lang="nn-NO" dirty="0" err="1"/>
              <a:t>available</a:t>
            </a:r>
            <a:r>
              <a:rPr lang="nn-NO" dirty="0"/>
              <a:t> for all languages</a:t>
            </a:r>
          </a:p>
          <a:p>
            <a:endParaRPr lang="nn-NO" dirty="0"/>
          </a:p>
        </p:txBody>
      </p:sp>
    </p:spTree>
    <p:extLst>
      <p:ext uri="{BB962C8B-B14F-4D97-AF65-F5344CB8AC3E}">
        <p14:creationId xmlns:p14="http://schemas.microsoft.com/office/powerpoint/2010/main" val="282934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scale</a:t>
            </a:r>
            <a:r>
              <a:rPr lang="nb-NO" b="1" dirty="0"/>
              <a:t> </a:t>
            </a:r>
            <a:r>
              <a:rPr lang="nb-NO" b="1" dirty="0" err="1"/>
              <a:t>analytics</a:t>
            </a:r>
            <a:br>
              <a:rPr lang="nb-NO" b="1" dirty="0"/>
            </a:br>
            <a:endParaRPr lang="nb-NO" dirty="0"/>
          </a:p>
        </p:txBody>
      </p:sp>
      <p:pic>
        <p:nvPicPr>
          <p:cNvPr id="8194" name="Picture 2" descr="Diagram of a high-level design containing both a data management landing zone and data landing zones.">
            <a:extLst>
              <a:ext uri="{FF2B5EF4-FFF2-40B4-BE49-F238E27FC236}">
                <a16:creationId xmlns:a16="http://schemas.microsoft.com/office/drawing/2014/main" id="{A991B8B4-77D6-1DEF-4265-34984F6E30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696" y="795061"/>
            <a:ext cx="12457384" cy="6145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30954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sp>
        <p:nvSpPr>
          <p:cNvPr id="6" name="TextBox 5">
            <a:extLst>
              <a:ext uri="{FF2B5EF4-FFF2-40B4-BE49-F238E27FC236}">
                <a16:creationId xmlns:a16="http://schemas.microsoft.com/office/drawing/2014/main" id="{60EE681F-9BBC-4240-B288-E1486907279E}"/>
              </a:ext>
            </a:extLst>
          </p:cNvPr>
          <p:cNvSpPr txBox="1"/>
          <p:nvPr/>
        </p:nvSpPr>
        <p:spPr>
          <a:xfrm>
            <a:off x="911424" y="2276872"/>
            <a:ext cx="9721080" cy="2308324"/>
          </a:xfrm>
          <a:prstGeom prst="rect">
            <a:avLst/>
          </a:prstGeom>
          <a:noFill/>
        </p:spPr>
        <p:txBody>
          <a:bodyPr wrap="square" rtlCol="0">
            <a:spAutoFit/>
          </a:bodyPr>
          <a:lstStyle/>
          <a:p>
            <a:pPr algn="ctr"/>
            <a:r>
              <a:rPr lang="nn-NO" sz="7200" dirty="0"/>
              <a:t>This is </a:t>
            </a:r>
            <a:r>
              <a:rPr lang="nn-NO" sz="7200" dirty="0" err="1"/>
              <a:t>where</a:t>
            </a:r>
            <a:r>
              <a:rPr lang="nn-NO" sz="7200" dirty="0"/>
              <a:t> a </a:t>
            </a:r>
            <a:r>
              <a:rPr lang="nn-NO" sz="7200" dirty="0" err="1"/>
              <a:t>demo</a:t>
            </a:r>
            <a:r>
              <a:rPr lang="nn-NO" sz="7200" dirty="0"/>
              <a:t> </a:t>
            </a:r>
            <a:r>
              <a:rPr lang="nn-NO" sz="7200" dirty="0" err="1"/>
              <a:t>would</a:t>
            </a:r>
            <a:r>
              <a:rPr lang="nn-NO" sz="7200" dirty="0"/>
              <a:t> </a:t>
            </a:r>
            <a:r>
              <a:rPr lang="nn-NO" sz="7200" dirty="0" err="1"/>
              <a:t>appear</a:t>
            </a:r>
            <a:endParaRPr lang="nb-NO" dirty="0"/>
          </a:p>
        </p:txBody>
      </p:sp>
    </p:spTree>
    <p:extLst>
      <p:ext uri="{BB962C8B-B14F-4D97-AF65-F5344CB8AC3E}">
        <p14:creationId xmlns:p14="http://schemas.microsoft.com/office/powerpoint/2010/main" val="5115763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4" name="Text Placeholder 1">
            <a:extLst>
              <a:ext uri="{FF2B5EF4-FFF2-40B4-BE49-F238E27FC236}">
                <a16:creationId xmlns:a16="http://schemas.microsoft.com/office/drawing/2014/main" id="{1DF0AA61-61DA-3170-0CE7-E01E1D383DB5}"/>
              </a:ext>
            </a:extLst>
          </p:cNvPr>
          <p:cNvSpPr>
            <a:spLocks noGrp="1"/>
          </p:cNvSpPr>
          <p:nvPr>
            <p:ph type="body" sz="quarter" idx="10"/>
          </p:nvPr>
        </p:nvSpPr>
        <p:spPr>
          <a:xfrm>
            <a:off x="406399" y="1122258"/>
            <a:ext cx="11379201" cy="5022612"/>
          </a:xfrm>
        </p:spPr>
        <p:txBody>
          <a:bodyPr/>
          <a:lstStyle/>
          <a:p>
            <a:r>
              <a:rPr lang="en-GB" dirty="0"/>
              <a:t>Cloud scale is targeting “data mesh”-like patterns. </a:t>
            </a:r>
          </a:p>
          <a:p>
            <a:r>
              <a:rPr lang="en-GB" dirty="0"/>
              <a:t>But – as everything else CAF-related – this is free-to-adapt code</a:t>
            </a:r>
          </a:p>
          <a:p>
            <a:endParaRPr lang="en-GB" dirty="0"/>
          </a:p>
          <a:p>
            <a:r>
              <a:rPr lang="en-GB" dirty="0"/>
              <a:t>5 modules</a:t>
            </a:r>
          </a:p>
          <a:p>
            <a:pPr marL="457200" indent="-457200">
              <a:buFont typeface="+mj-lt"/>
              <a:buAutoNum type="arabicPeriod"/>
            </a:pPr>
            <a:r>
              <a:rPr lang="en-GB" dirty="0"/>
              <a:t>Data Management Zone  </a:t>
            </a:r>
          </a:p>
          <a:p>
            <a:pPr marL="457200" indent="-457200">
              <a:buFont typeface="+mj-lt"/>
              <a:buAutoNum type="arabicPeriod"/>
            </a:pPr>
            <a:r>
              <a:rPr lang="en-GB" dirty="0"/>
              <a:t>Data Landing Zone(s)</a:t>
            </a:r>
          </a:p>
          <a:p>
            <a:pPr marL="457200" indent="-457200">
              <a:buFont typeface="+mj-lt"/>
              <a:buAutoNum type="arabicPeriod"/>
            </a:pPr>
            <a:r>
              <a:rPr lang="en-GB" dirty="0"/>
              <a:t>Data Integration – batch</a:t>
            </a:r>
          </a:p>
          <a:p>
            <a:pPr marL="457200" indent="-457200">
              <a:buFont typeface="+mj-lt"/>
              <a:buAutoNum type="arabicPeriod"/>
            </a:pPr>
            <a:r>
              <a:rPr lang="en-GB" dirty="0"/>
              <a:t>Data Integration – stream</a:t>
            </a:r>
          </a:p>
          <a:p>
            <a:pPr marL="457200" indent="-457200">
              <a:buFont typeface="+mj-lt"/>
              <a:buAutoNum type="arabicPeriod"/>
            </a:pPr>
            <a:r>
              <a:rPr lang="en-GB" dirty="0"/>
              <a:t>Data Product – Analytics &amp; Data Science</a:t>
            </a:r>
          </a:p>
          <a:p>
            <a:endParaRPr lang="en-GB" dirty="0"/>
          </a:p>
          <a:p>
            <a:endParaRPr lang="en-GB" dirty="0"/>
          </a:p>
        </p:txBody>
      </p:sp>
    </p:spTree>
    <p:extLst>
      <p:ext uri="{BB962C8B-B14F-4D97-AF65-F5344CB8AC3E}">
        <p14:creationId xmlns:p14="http://schemas.microsoft.com/office/powerpoint/2010/main" val="506843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4" name="Text Placeholder 1">
            <a:extLst>
              <a:ext uri="{FF2B5EF4-FFF2-40B4-BE49-F238E27FC236}">
                <a16:creationId xmlns:a16="http://schemas.microsoft.com/office/drawing/2014/main" id="{1DF0AA61-61DA-3170-0CE7-E01E1D383DB5}"/>
              </a:ext>
            </a:extLst>
          </p:cNvPr>
          <p:cNvSpPr>
            <a:spLocks noGrp="1"/>
          </p:cNvSpPr>
          <p:nvPr>
            <p:ph type="body" sz="quarter" idx="10"/>
          </p:nvPr>
        </p:nvSpPr>
        <p:spPr>
          <a:xfrm>
            <a:off x="406399" y="1122258"/>
            <a:ext cx="11379201" cy="5022612"/>
          </a:xfrm>
        </p:spPr>
        <p:txBody>
          <a:bodyPr/>
          <a:lstStyle/>
          <a:p>
            <a:pPr marL="457200" indent="-457200">
              <a:buFont typeface="+mj-lt"/>
              <a:buAutoNum type="arabicPeriod"/>
            </a:pPr>
            <a:r>
              <a:rPr lang="en-GB" dirty="0"/>
              <a:t>Data Management Zone  </a:t>
            </a:r>
          </a:p>
          <a:p>
            <a:pPr marL="457200" indent="-457200">
              <a:buFont typeface="+mj-lt"/>
              <a:buAutoNum type="arabicPeriod"/>
            </a:pPr>
            <a:endParaRPr lang="en-GB" dirty="0"/>
          </a:p>
          <a:p>
            <a:r>
              <a:rPr lang="en-GB" dirty="0"/>
              <a:t>One per scenario deployment</a:t>
            </a:r>
          </a:p>
          <a:p>
            <a:r>
              <a:rPr lang="en-GB" dirty="0"/>
              <a:t>Creates one subscription off your Azure hub</a:t>
            </a:r>
          </a:p>
          <a:p>
            <a:r>
              <a:rPr lang="en-GB" dirty="0"/>
              <a:t>All management services – as defined by Microsoft</a:t>
            </a:r>
          </a:p>
          <a:p>
            <a:endParaRPr lang="en-GB" dirty="0"/>
          </a:p>
          <a:p>
            <a:endParaRPr lang="en-GB" dirty="0"/>
          </a:p>
        </p:txBody>
      </p:sp>
    </p:spTree>
    <p:extLst>
      <p:ext uri="{BB962C8B-B14F-4D97-AF65-F5344CB8AC3E}">
        <p14:creationId xmlns:p14="http://schemas.microsoft.com/office/powerpoint/2010/main" val="2677082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pic>
        <p:nvPicPr>
          <p:cNvPr id="13313" name="Picture 1" descr="page21image39816656">
            <a:extLst>
              <a:ext uri="{FF2B5EF4-FFF2-40B4-BE49-F238E27FC236}">
                <a16:creationId xmlns:a16="http://schemas.microsoft.com/office/drawing/2014/main" id="{B229FCFF-F260-CE2E-341E-51A806176B8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5201" b="19525"/>
          <a:stretch/>
        </p:blipFill>
        <p:spPr bwMode="auto">
          <a:xfrm>
            <a:off x="404813" y="692696"/>
            <a:ext cx="11091786" cy="60709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694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4" name="Text Placeholder 1">
            <a:extLst>
              <a:ext uri="{FF2B5EF4-FFF2-40B4-BE49-F238E27FC236}">
                <a16:creationId xmlns:a16="http://schemas.microsoft.com/office/drawing/2014/main" id="{1DF0AA61-61DA-3170-0CE7-E01E1D383DB5}"/>
              </a:ext>
            </a:extLst>
          </p:cNvPr>
          <p:cNvSpPr>
            <a:spLocks noGrp="1"/>
          </p:cNvSpPr>
          <p:nvPr>
            <p:ph type="body" sz="quarter" idx="10"/>
          </p:nvPr>
        </p:nvSpPr>
        <p:spPr>
          <a:xfrm>
            <a:off x="406399" y="1122258"/>
            <a:ext cx="11379201" cy="5022612"/>
          </a:xfrm>
        </p:spPr>
        <p:txBody>
          <a:bodyPr/>
          <a:lstStyle/>
          <a:p>
            <a:r>
              <a:rPr lang="en-GB" dirty="0"/>
              <a:t>2. Data Landing Zone</a:t>
            </a:r>
          </a:p>
          <a:p>
            <a:endParaRPr lang="en-GB" dirty="0"/>
          </a:p>
          <a:p>
            <a:r>
              <a:rPr lang="en-GB" dirty="0"/>
              <a:t>One to many – depending on your organization’s needs</a:t>
            </a:r>
          </a:p>
          <a:p>
            <a:r>
              <a:rPr lang="en-GB" dirty="0"/>
              <a:t>This is where your data is persisted – and workloads are executed</a:t>
            </a:r>
          </a:p>
          <a:p>
            <a:pPr marL="342900" indent="-342900">
              <a:buFont typeface="Arial" panose="020B0604020202020204" pitchFamily="34" charset="0"/>
              <a:buChar char="•"/>
            </a:pPr>
            <a:r>
              <a:rPr lang="en-GB" dirty="0"/>
              <a:t>storage services</a:t>
            </a:r>
          </a:p>
          <a:p>
            <a:pPr marL="342900" indent="-342900">
              <a:buFont typeface="Arial" panose="020B0604020202020204" pitchFamily="34" charset="0"/>
              <a:buChar char="•"/>
            </a:pPr>
            <a:r>
              <a:rPr lang="en-GB" dirty="0"/>
              <a:t>Ingestion services</a:t>
            </a:r>
          </a:p>
          <a:p>
            <a:pPr marL="342900" indent="-342900">
              <a:buFont typeface="Arial" panose="020B0604020202020204" pitchFamily="34" charset="0"/>
              <a:buChar char="•"/>
            </a:pPr>
            <a:r>
              <a:rPr lang="en-GB" dirty="0"/>
              <a:t>Management services (networking, monitoring…)</a:t>
            </a:r>
          </a:p>
          <a:p>
            <a:pPr marL="342900" indent="-342900">
              <a:buFont typeface="Arial" panose="020B0604020202020204" pitchFamily="34" charset="0"/>
              <a:buChar char="•"/>
            </a:pPr>
            <a:endParaRPr lang="en-GB" dirty="0"/>
          </a:p>
          <a:p>
            <a:pPr marL="342900" indent="-342900">
              <a:buFontTx/>
              <a:buChar char="-"/>
            </a:pPr>
            <a:endParaRPr lang="en-GB" dirty="0"/>
          </a:p>
          <a:p>
            <a:endParaRPr lang="en-GB" dirty="0"/>
          </a:p>
          <a:p>
            <a:endParaRPr lang="en-GB" dirty="0"/>
          </a:p>
        </p:txBody>
      </p:sp>
    </p:spTree>
    <p:extLst>
      <p:ext uri="{BB962C8B-B14F-4D97-AF65-F5344CB8AC3E}">
        <p14:creationId xmlns:p14="http://schemas.microsoft.com/office/powerpoint/2010/main" val="2453724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pic>
        <p:nvPicPr>
          <p:cNvPr id="6" name="Picture 85">
            <a:extLst>
              <a:ext uri="{FF2B5EF4-FFF2-40B4-BE49-F238E27FC236}">
                <a16:creationId xmlns:a16="http://schemas.microsoft.com/office/drawing/2014/main" id="{9CEB8653-C751-DA8A-3D92-761ED8060A4A}"/>
              </a:ext>
            </a:extLst>
          </p:cNvPr>
          <p:cNvPicPr>
            <a:picLocks noChangeAspect="1"/>
          </p:cNvPicPr>
          <p:nvPr/>
        </p:nvPicPr>
        <p:blipFill>
          <a:blip r:embed="rId2"/>
          <a:stretch>
            <a:fillRect/>
          </a:stretch>
        </p:blipFill>
        <p:spPr>
          <a:xfrm>
            <a:off x="3019837" y="1609181"/>
            <a:ext cx="5116500" cy="4406696"/>
          </a:xfrm>
          <a:prstGeom prst="rect">
            <a:avLst/>
          </a:prstGeom>
        </p:spPr>
      </p:pic>
      <p:pic>
        <p:nvPicPr>
          <p:cNvPr id="14337" name="Picture 1" descr="page22image56498192">
            <a:extLst>
              <a:ext uri="{FF2B5EF4-FFF2-40B4-BE49-F238E27FC236}">
                <a16:creationId xmlns:a16="http://schemas.microsoft.com/office/drawing/2014/main" id="{5D9D85E4-CFAB-A5B7-08D7-C98DF7AD01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682" t="10174" r="7272" b="6003"/>
          <a:stretch/>
        </p:blipFill>
        <p:spPr bwMode="auto">
          <a:xfrm>
            <a:off x="409748" y="746542"/>
            <a:ext cx="10582795" cy="5799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98843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4" name="Text Placeholder 1">
            <a:extLst>
              <a:ext uri="{FF2B5EF4-FFF2-40B4-BE49-F238E27FC236}">
                <a16:creationId xmlns:a16="http://schemas.microsoft.com/office/drawing/2014/main" id="{1DF0AA61-61DA-3170-0CE7-E01E1D383DB5}"/>
              </a:ext>
            </a:extLst>
          </p:cNvPr>
          <p:cNvSpPr>
            <a:spLocks noGrp="1"/>
          </p:cNvSpPr>
          <p:nvPr>
            <p:ph type="body" sz="quarter" idx="10"/>
          </p:nvPr>
        </p:nvSpPr>
        <p:spPr>
          <a:xfrm>
            <a:off x="406399" y="1122258"/>
            <a:ext cx="11379201" cy="5022612"/>
          </a:xfrm>
        </p:spPr>
        <p:txBody>
          <a:bodyPr/>
          <a:lstStyle/>
          <a:p>
            <a:r>
              <a:rPr lang="en-GB" dirty="0"/>
              <a:t>3 . Data Integration – batch &amp; 4. Data Integration - stream</a:t>
            </a:r>
          </a:p>
          <a:p>
            <a:endParaRPr lang="en-GB" dirty="0"/>
          </a:p>
          <a:p>
            <a:r>
              <a:rPr lang="en-GB" dirty="0"/>
              <a:t>One to many – depending on your organization’s needs</a:t>
            </a:r>
          </a:p>
          <a:p>
            <a:r>
              <a:rPr lang="en-GB" dirty="0"/>
              <a:t>These are deployed as resource groups within your Data Landing Zone</a:t>
            </a:r>
          </a:p>
          <a:p>
            <a:pPr marL="342900" indent="-342900">
              <a:buFont typeface="Arial" panose="020B0604020202020204" pitchFamily="34" charset="0"/>
              <a:buChar char="•"/>
            </a:pPr>
            <a:r>
              <a:rPr lang="en-GB" dirty="0"/>
              <a:t>storage services</a:t>
            </a:r>
          </a:p>
          <a:p>
            <a:pPr marL="342900" indent="-342900">
              <a:buFont typeface="Arial" panose="020B0604020202020204" pitchFamily="34" charset="0"/>
              <a:buChar char="•"/>
            </a:pPr>
            <a:r>
              <a:rPr lang="en-GB" dirty="0"/>
              <a:t>data orchestration – Data Factory &amp; Event hub /IoT Hub</a:t>
            </a:r>
          </a:p>
          <a:p>
            <a:pPr marL="342900" indent="-342900">
              <a:buFont typeface="Arial" panose="020B0604020202020204" pitchFamily="34" charset="0"/>
              <a:buChar char="•"/>
            </a:pPr>
            <a:r>
              <a:rPr lang="en-GB" dirty="0"/>
              <a:t>transformation – Data Factory / Synapse / Databricks / Stream Analytics</a:t>
            </a:r>
          </a:p>
          <a:p>
            <a:pPr marL="342900" indent="-342900">
              <a:buFont typeface="Arial" panose="020B0604020202020204" pitchFamily="34" charset="0"/>
              <a:buChar char="•"/>
            </a:pPr>
            <a:r>
              <a:rPr lang="en-GB" dirty="0"/>
              <a:t>shared runtime services</a:t>
            </a:r>
          </a:p>
          <a:p>
            <a:pPr marL="342900" indent="-342900">
              <a:buFont typeface="Arial" panose="020B0604020202020204" pitchFamily="34" charset="0"/>
              <a:buChar char="•"/>
            </a:pPr>
            <a:r>
              <a:rPr lang="en-GB" dirty="0" err="1"/>
              <a:t>metastores</a:t>
            </a:r>
            <a:endParaRPr lang="en-GB" dirty="0"/>
          </a:p>
          <a:p>
            <a:pPr marL="342900" indent="-342900">
              <a:buFont typeface="Arial" panose="020B0604020202020204" pitchFamily="34" charset="0"/>
              <a:buChar char="•"/>
            </a:pPr>
            <a:endParaRPr lang="en-GB" dirty="0"/>
          </a:p>
          <a:p>
            <a:pPr marL="342900" indent="-342900">
              <a:buFontTx/>
              <a:buChar char="-"/>
            </a:pPr>
            <a:endParaRPr lang="en-GB" dirty="0"/>
          </a:p>
          <a:p>
            <a:endParaRPr lang="en-GB" dirty="0"/>
          </a:p>
          <a:p>
            <a:endParaRPr lang="en-GB" dirty="0"/>
          </a:p>
        </p:txBody>
      </p:sp>
    </p:spTree>
    <p:extLst>
      <p:ext uri="{BB962C8B-B14F-4D97-AF65-F5344CB8AC3E}">
        <p14:creationId xmlns:p14="http://schemas.microsoft.com/office/powerpoint/2010/main" val="3905134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5E867D6-526E-FE2B-A6E1-D2B9428C278F}"/>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pic>
        <p:nvPicPr>
          <p:cNvPr id="16386" name="Picture 2">
            <a:extLst>
              <a:ext uri="{FF2B5EF4-FFF2-40B4-BE49-F238E27FC236}">
                <a16:creationId xmlns:a16="http://schemas.microsoft.com/office/drawing/2014/main" id="{B8A6354B-D417-459F-0E3E-F0FC55BA7E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29" t="50000" r="35024" b="17451"/>
          <a:stretch/>
        </p:blipFill>
        <p:spPr bwMode="auto">
          <a:xfrm>
            <a:off x="1271464" y="1183549"/>
            <a:ext cx="8208912" cy="5301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8387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03FFC22-4D0F-996E-2B9B-A90E108B75C1}"/>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
        <p:nvSpPr>
          <p:cNvPr id="4" name="Text Placeholder 1">
            <a:extLst>
              <a:ext uri="{FF2B5EF4-FFF2-40B4-BE49-F238E27FC236}">
                <a16:creationId xmlns:a16="http://schemas.microsoft.com/office/drawing/2014/main" id="{1DF0AA61-61DA-3170-0CE7-E01E1D383DB5}"/>
              </a:ext>
            </a:extLst>
          </p:cNvPr>
          <p:cNvSpPr>
            <a:spLocks noGrp="1"/>
          </p:cNvSpPr>
          <p:nvPr>
            <p:ph type="body" sz="quarter" idx="10"/>
          </p:nvPr>
        </p:nvSpPr>
        <p:spPr>
          <a:xfrm>
            <a:off x="406399" y="1122258"/>
            <a:ext cx="11379201" cy="5022612"/>
          </a:xfrm>
        </p:spPr>
        <p:txBody>
          <a:bodyPr/>
          <a:lstStyle/>
          <a:p>
            <a:r>
              <a:rPr lang="en-GB" dirty="0"/>
              <a:t>5. Data Product – Analytics &amp; Data Science</a:t>
            </a:r>
          </a:p>
          <a:p>
            <a:endParaRPr lang="en-GB" dirty="0"/>
          </a:p>
          <a:p>
            <a:r>
              <a:rPr lang="en-GB" dirty="0"/>
              <a:t>One to many – depending on your organization’s needs</a:t>
            </a:r>
          </a:p>
          <a:p>
            <a:r>
              <a:rPr lang="en-GB" dirty="0"/>
              <a:t>These are deployed as resource groups within your Data Landing Zone(s)</a:t>
            </a:r>
          </a:p>
          <a:p>
            <a:pPr marL="342900" indent="-342900">
              <a:buFont typeface="Arial" panose="020B0604020202020204" pitchFamily="34" charset="0"/>
              <a:buChar char="•"/>
            </a:pPr>
            <a:r>
              <a:rPr lang="en-GB" dirty="0"/>
              <a:t>Synapse Workspace </a:t>
            </a:r>
          </a:p>
          <a:p>
            <a:pPr marL="342900" indent="-342900">
              <a:buFont typeface="Arial" panose="020B0604020202020204" pitchFamily="34" charset="0"/>
              <a:buChar char="•"/>
            </a:pPr>
            <a:r>
              <a:rPr lang="en-GB" dirty="0"/>
              <a:t>Databricks Workspace</a:t>
            </a:r>
          </a:p>
          <a:p>
            <a:pPr marL="342900" indent="-342900">
              <a:buFont typeface="Arial" panose="020B0604020202020204" pitchFamily="34" charset="0"/>
              <a:buChar char="•"/>
            </a:pPr>
            <a:r>
              <a:rPr lang="en-GB" dirty="0"/>
              <a:t>Key vaults</a:t>
            </a:r>
          </a:p>
          <a:p>
            <a:pPr marL="342900" indent="-342900">
              <a:buFont typeface="Arial" panose="020B0604020202020204" pitchFamily="34" charset="0"/>
              <a:buChar char="•"/>
            </a:pPr>
            <a:r>
              <a:rPr lang="en-GB" dirty="0"/>
              <a:t>Data Science services (Azure ML, Cognitive services ++)</a:t>
            </a:r>
          </a:p>
          <a:p>
            <a:pPr marL="342900" indent="-342900">
              <a:buFont typeface="Arial" panose="020B0604020202020204" pitchFamily="34" charset="0"/>
              <a:buChar char="•"/>
            </a:pPr>
            <a:r>
              <a:rPr lang="en-GB" dirty="0"/>
              <a:t>Storage account</a:t>
            </a:r>
          </a:p>
          <a:p>
            <a:pPr marL="342900" indent="-342900">
              <a:buFont typeface="Arial" panose="020B0604020202020204" pitchFamily="34" charset="0"/>
              <a:buChar char="•"/>
            </a:pPr>
            <a:endParaRPr lang="en-GB" dirty="0"/>
          </a:p>
          <a:p>
            <a:r>
              <a:rPr lang="en-GB" dirty="0"/>
              <a:t>Supports independent data teams and data mesh approach</a:t>
            </a:r>
          </a:p>
          <a:p>
            <a:pPr marL="342900" indent="-342900">
              <a:buFont typeface="Arial" panose="020B0604020202020204" pitchFamily="34" charset="0"/>
              <a:buChar char="•"/>
            </a:pPr>
            <a:endParaRPr lang="en-GB" dirty="0"/>
          </a:p>
          <a:p>
            <a:endParaRPr lang="en-GB" dirty="0"/>
          </a:p>
          <a:p>
            <a:pPr marL="342900" indent="-342900">
              <a:buFont typeface="Arial" panose="020B0604020202020204" pitchFamily="34" charset="0"/>
              <a:buChar char="•"/>
            </a:pPr>
            <a:endParaRPr lang="en-GB" dirty="0"/>
          </a:p>
          <a:p>
            <a:pPr marL="342900" indent="-342900">
              <a:buFontTx/>
              <a:buChar char="-"/>
            </a:pPr>
            <a:endParaRPr lang="en-GB" dirty="0"/>
          </a:p>
          <a:p>
            <a:endParaRPr lang="en-GB" dirty="0"/>
          </a:p>
          <a:p>
            <a:endParaRPr lang="en-GB" dirty="0"/>
          </a:p>
        </p:txBody>
      </p:sp>
    </p:spTree>
    <p:extLst>
      <p:ext uri="{BB962C8B-B14F-4D97-AF65-F5344CB8AC3E}">
        <p14:creationId xmlns:p14="http://schemas.microsoft.com/office/powerpoint/2010/main" val="149718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Everything is code</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
        <p:nvSpPr>
          <p:cNvPr id="2" name="AutoShape 2" descr="Diagram that shows an overview of the Cloud Adoption Framework.">
            <a:extLst>
              <a:ext uri="{FF2B5EF4-FFF2-40B4-BE49-F238E27FC236}">
                <a16:creationId xmlns:a16="http://schemas.microsoft.com/office/drawing/2014/main" id="{6F1B2532-6B0C-4A1B-96B9-D9D66FFF76D5}"/>
              </a:ext>
            </a:extLst>
          </p:cNvPr>
          <p:cNvSpPr>
            <a:spLocks noGrp="1" noChangeAspect="1" noChangeArrowheads="1"/>
          </p:cNvSpPr>
          <p:nvPr>
            <p:ph sz="half" idx="11"/>
          </p:nvPr>
        </p:nvSpPr>
        <p:spPr bwMode="auto">
          <a:xfrm>
            <a:off x="404813" y="2924175"/>
            <a:ext cx="5784850" cy="23050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nn-NO" dirty="0"/>
              <a:t>ARM – Azure Resource Management</a:t>
            </a:r>
          </a:p>
          <a:p>
            <a:pPr marL="342900" indent="-342900">
              <a:buFontTx/>
              <a:buChar char="-"/>
            </a:pPr>
            <a:r>
              <a:rPr lang="nn-NO" dirty="0" err="1"/>
              <a:t>the</a:t>
            </a:r>
            <a:r>
              <a:rPr lang="nn-NO" dirty="0"/>
              <a:t> </a:t>
            </a:r>
            <a:r>
              <a:rPr lang="nn-NO" dirty="0" err="1"/>
              <a:t>core</a:t>
            </a:r>
            <a:r>
              <a:rPr lang="nn-NO" dirty="0"/>
              <a:t> of  Azure services</a:t>
            </a:r>
          </a:p>
          <a:p>
            <a:pPr marL="342900" indent="-342900">
              <a:buFontTx/>
              <a:buChar char="-"/>
            </a:pPr>
            <a:r>
              <a:rPr lang="nn-NO" dirty="0"/>
              <a:t>JSON</a:t>
            </a:r>
          </a:p>
          <a:p>
            <a:pPr marL="342900" indent="-342900">
              <a:buFontTx/>
              <a:buChar char="-"/>
            </a:pPr>
            <a:r>
              <a:rPr lang="nn-NO" dirty="0" err="1"/>
              <a:t>wordy</a:t>
            </a:r>
            <a:endParaRPr lang="nn-NO" dirty="0"/>
          </a:p>
          <a:p>
            <a:pPr marL="342900" indent="-342900">
              <a:buFontTx/>
              <a:buChar char="-"/>
            </a:pPr>
            <a:r>
              <a:rPr lang="nn-NO" dirty="0"/>
              <a:t>All CAF </a:t>
            </a:r>
            <a:r>
              <a:rPr lang="nn-NO" dirty="0" err="1"/>
              <a:t>blueprints</a:t>
            </a:r>
            <a:r>
              <a:rPr lang="nn-NO" dirty="0"/>
              <a:t> </a:t>
            </a:r>
            <a:r>
              <a:rPr lang="nn-NO" dirty="0" err="1"/>
              <a:t>available</a:t>
            </a:r>
            <a:r>
              <a:rPr lang="nn-NO" dirty="0"/>
              <a:t> as ARM </a:t>
            </a:r>
            <a:r>
              <a:rPr lang="nn-NO" dirty="0" err="1"/>
              <a:t>templates</a:t>
            </a:r>
            <a:endParaRPr lang="nn-NO" dirty="0"/>
          </a:p>
        </p:txBody>
      </p:sp>
      <p:pic>
        <p:nvPicPr>
          <p:cNvPr id="7170" name="Picture 2" descr="Developing with Azure Resource Manager - Introduction to ...">
            <a:extLst>
              <a:ext uri="{FF2B5EF4-FFF2-40B4-BE49-F238E27FC236}">
                <a16:creationId xmlns:a16="http://schemas.microsoft.com/office/drawing/2014/main" id="{DDCAE765-41C2-9058-6F93-B0B8F1B086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3092" y="1645196"/>
            <a:ext cx="2010032" cy="1631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474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55B394C5-64D7-BB8E-EEB9-0AD27495BB82}"/>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pic>
        <p:nvPicPr>
          <p:cNvPr id="17410" name="Picture 2" descr="Diagram of the data landing zone architecture.">
            <a:extLst>
              <a:ext uri="{FF2B5EF4-FFF2-40B4-BE49-F238E27FC236}">
                <a16:creationId xmlns:a16="http://schemas.microsoft.com/office/drawing/2014/main" id="{9536C995-0571-BD36-87AD-769732BBC2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29" t="24170" r="36406" b="52100"/>
          <a:stretch/>
        </p:blipFill>
        <p:spPr bwMode="auto">
          <a:xfrm>
            <a:off x="1559496" y="1700808"/>
            <a:ext cx="8424936" cy="4068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20433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a:t>Cloud </a:t>
            </a:r>
            <a:r>
              <a:rPr lang="nn-NO" dirty="0" err="1"/>
              <a:t>adoption</a:t>
            </a:r>
            <a:r>
              <a:rPr lang="nn-NO" dirty="0"/>
              <a:t> </a:t>
            </a:r>
            <a:r>
              <a:rPr lang="nn-NO" dirty="0" err="1"/>
              <a:t>framework</a:t>
            </a:r>
            <a:r>
              <a:rPr lang="nn-NO" dirty="0"/>
              <a:t> - READY</a:t>
            </a:r>
            <a:endParaRPr lang="nb-NO" dirty="0"/>
          </a:p>
        </p:txBody>
      </p:sp>
      <p:sp>
        <p:nvSpPr>
          <p:cNvPr id="6" name="TextBox 5">
            <a:extLst>
              <a:ext uri="{FF2B5EF4-FFF2-40B4-BE49-F238E27FC236}">
                <a16:creationId xmlns:a16="http://schemas.microsoft.com/office/drawing/2014/main" id="{60EE681F-9BBC-4240-B288-E1486907279E}"/>
              </a:ext>
            </a:extLst>
          </p:cNvPr>
          <p:cNvSpPr txBox="1"/>
          <p:nvPr/>
        </p:nvSpPr>
        <p:spPr>
          <a:xfrm>
            <a:off x="911424" y="2276872"/>
            <a:ext cx="9721080" cy="2308324"/>
          </a:xfrm>
          <a:prstGeom prst="rect">
            <a:avLst/>
          </a:prstGeom>
          <a:noFill/>
        </p:spPr>
        <p:txBody>
          <a:bodyPr wrap="square" rtlCol="0">
            <a:spAutoFit/>
          </a:bodyPr>
          <a:lstStyle/>
          <a:p>
            <a:pPr algn="ctr"/>
            <a:r>
              <a:rPr lang="nn-NO" sz="7200" dirty="0"/>
              <a:t>This is </a:t>
            </a:r>
            <a:r>
              <a:rPr lang="nn-NO" sz="7200" dirty="0" err="1"/>
              <a:t>where</a:t>
            </a:r>
            <a:r>
              <a:rPr lang="nn-NO" sz="7200" dirty="0"/>
              <a:t> a </a:t>
            </a:r>
            <a:r>
              <a:rPr lang="nn-NO" sz="7200" dirty="0" err="1"/>
              <a:t>demo</a:t>
            </a:r>
            <a:r>
              <a:rPr lang="nn-NO" sz="7200" dirty="0"/>
              <a:t> </a:t>
            </a:r>
            <a:r>
              <a:rPr lang="nn-NO" sz="7200" dirty="0" err="1"/>
              <a:t>would</a:t>
            </a:r>
            <a:r>
              <a:rPr lang="nn-NO" sz="7200" dirty="0"/>
              <a:t> </a:t>
            </a:r>
            <a:r>
              <a:rPr lang="nn-NO" sz="7200" dirty="0" err="1"/>
              <a:t>appear</a:t>
            </a:r>
            <a:endParaRPr lang="nb-NO" dirty="0"/>
          </a:p>
        </p:txBody>
      </p:sp>
    </p:spTree>
    <p:extLst>
      <p:ext uri="{BB962C8B-B14F-4D97-AF65-F5344CB8AC3E}">
        <p14:creationId xmlns:p14="http://schemas.microsoft.com/office/powerpoint/2010/main" val="14874206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D092045C-6F56-054C-B578-AE7CF497104D}"/>
              </a:ext>
            </a:extLst>
          </p:cNvPr>
          <p:cNvSpPr>
            <a:spLocks noGrp="1"/>
          </p:cNvSpPr>
          <p:nvPr>
            <p:ph type="body" sz="quarter" idx="10"/>
          </p:nvPr>
        </p:nvSpPr>
        <p:spPr/>
        <p:txBody>
          <a:bodyPr/>
          <a:lstStyle/>
          <a:p>
            <a:r>
              <a:rPr lang="nb-NO" dirty="0" err="1"/>
              <a:t>Why</a:t>
            </a:r>
            <a:r>
              <a:rPr lang="nb-NO" dirty="0"/>
              <a:t> </a:t>
            </a:r>
            <a:r>
              <a:rPr lang="nb-NO" dirty="0" err="1"/>
              <a:t>should</a:t>
            </a:r>
            <a:r>
              <a:rPr lang="nb-NO" dirty="0"/>
              <a:t> </a:t>
            </a:r>
            <a:r>
              <a:rPr lang="nb-NO" dirty="0" err="1"/>
              <a:t>you</a:t>
            </a:r>
            <a:r>
              <a:rPr lang="nb-NO" dirty="0"/>
              <a:t> </a:t>
            </a:r>
            <a:r>
              <a:rPr lang="nb-NO" dirty="0" err="1"/>
              <a:t>use</a:t>
            </a:r>
            <a:r>
              <a:rPr lang="nb-NO" dirty="0"/>
              <a:t> CAF in general and </a:t>
            </a:r>
            <a:r>
              <a:rPr lang="nb-NO" dirty="0" err="1"/>
              <a:t>this</a:t>
            </a:r>
            <a:r>
              <a:rPr lang="nb-NO" dirty="0"/>
              <a:t> scenario </a:t>
            </a:r>
            <a:r>
              <a:rPr lang="nb-NO" dirty="0" err="1"/>
              <a:t>specifically</a:t>
            </a:r>
            <a:r>
              <a:rPr lang="nb-NO" dirty="0"/>
              <a:t>?</a:t>
            </a:r>
          </a:p>
          <a:p>
            <a:endParaRPr lang="nb-NO" dirty="0"/>
          </a:p>
          <a:p>
            <a:pPr marL="342900" indent="-342900">
              <a:buFontTx/>
              <a:buChar char="-"/>
            </a:pPr>
            <a:r>
              <a:rPr lang="nb-NO" dirty="0"/>
              <a:t>Baseline </a:t>
            </a:r>
            <a:r>
              <a:rPr lang="nb-NO" dirty="0" err="1"/>
              <a:t>infrastructure</a:t>
            </a:r>
            <a:r>
              <a:rPr lang="nb-NO" dirty="0"/>
              <a:t> and policy services best </a:t>
            </a:r>
            <a:r>
              <a:rPr lang="nb-NO" dirty="0" err="1"/>
              <a:t>practices</a:t>
            </a:r>
            <a:endParaRPr lang="nb-NO" dirty="0"/>
          </a:p>
          <a:p>
            <a:pPr marL="342900" indent="-342900">
              <a:buFontTx/>
              <a:buChar char="-"/>
            </a:pPr>
            <a:r>
              <a:rPr lang="nb-NO" dirty="0"/>
              <a:t>Same </a:t>
            </a:r>
            <a:r>
              <a:rPr lang="nb-NO" dirty="0" err="1"/>
              <a:t>language</a:t>
            </a:r>
            <a:r>
              <a:rPr lang="nb-NO" dirty="0"/>
              <a:t> as </a:t>
            </a:r>
            <a:r>
              <a:rPr lang="nb-NO" dirty="0" err="1"/>
              <a:t>infra</a:t>
            </a:r>
            <a:r>
              <a:rPr lang="nb-NO" dirty="0"/>
              <a:t> </a:t>
            </a:r>
            <a:r>
              <a:rPr lang="nb-NO" dirty="0" err="1"/>
              <a:t>engineers</a:t>
            </a:r>
            <a:r>
              <a:rPr lang="nb-NO" dirty="0"/>
              <a:t> – </a:t>
            </a:r>
            <a:r>
              <a:rPr lang="nb-NO" dirty="0" err="1"/>
              <a:t>better</a:t>
            </a:r>
            <a:r>
              <a:rPr lang="nb-NO" dirty="0"/>
              <a:t> co-</a:t>
            </a:r>
            <a:r>
              <a:rPr lang="nb-NO" dirty="0" err="1"/>
              <a:t>operation</a:t>
            </a:r>
            <a:endParaRPr lang="nb-NO" dirty="0"/>
          </a:p>
          <a:p>
            <a:pPr marL="342900" indent="-342900">
              <a:buFontTx/>
              <a:buChar char="-"/>
            </a:pPr>
            <a:r>
              <a:rPr lang="nb-NO" dirty="0" err="1"/>
              <a:t>Infrastructure</a:t>
            </a:r>
            <a:r>
              <a:rPr lang="nb-NO" dirty="0"/>
              <a:t> as </a:t>
            </a:r>
            <a:r>
              <a:rPr lang="nb-NO" dirty="0" err="1"/>
              <a:t>code</a:t>
            </a:r>
            <a:r>
              <a:rPr lang="nb-NO" dirty="0"/>
              <a:t> – </a:t>
            </a:r>
            <a:r>
              <a:rPr lang="nb-NO" dirty="0" err="1"/>
              <a:t>control</a:t>
            </a:r>
            <a:r>
              <a:rPr lang="nb-NO" dirty="0"/>
              <a:t> </a:t>
            </a:r>
            <a:r>
              <a:rPr lang="nb-NO" dirty="0" err="1"/>
              <a:t>your</a:t>
            </a:r>
            <a:r>
              <a:rPr lang="nb-NO" dirty="0"/>
              <a:t> services </a:t>
            </a:r>
            <a:r>
              <a:rPr lang="nb-NO" dirty="0" err="1"/>
              <a:t>with</a:t>
            </a:r>
            <a:r>
              <a:rPr lang="nb-NO" dirty="0"/>
              <a:t> CI/CD</a:t>
            </a:r>
          </a:p>
          <a:p>
            <a:pPr marL="342900" indent="-342900">
              <a:buFontTx/>
              <a:buChar char="-"/>
            </a:pPr>
            <a:r>
              <a:rPr lang="nb-NO" dirty="0" err="1"/>
              <a:t>Implement</a:t>
            </a:r>
            <a:r>
              <a:rPr lang="nb-NO" dirty="0"/>
              <a:t> </a:t>
            </a:r>
            <a:r>
              <a:rPr lang="nb-NO" dirty="0" err="1"/>
              <a:t>cost</a:t>
            </a:r>
            <a:r>
              <a:rPr lang="nb-NO" dirty="0"/>
              <a:t> management – </a:t>
            </a:r>
            <a:r>
              <a:rPr lang="nb-NO" dirty="0" err="1"/>
              <a:t>down</a:t>
            </a:r>
            <a:r>
              <a:rPr lang="nb-NO" dirty="0"/>
              <a:t> to </a:t>
            </a:r>
            <a:r>
              <a:rPr lang="nb-NO" dirty="0" err="1"/>
              <a:t>product</a:t>
            </a:r>
            <a:r>
              <a:rPr lang="nb-NO" dirty="0"/>
              <a:t>/team </a:t>
            </a:r>
            <a:r>
              <a:rPr lang="nb-NO" dirty="0" err="1"/>
              <a:t>level</a:t>
            </a:r>
            <a:endParaRPr lang="nb-NO" dirty="0"/>
          </a:p>
          <a:p>
            <a:pPr marL="342900" indent="-342900">
              <a:buFontTx/>
              <a:buChar char="-"/>
            </a:pPr>
            <a:r>
              <a:rPr lang="nb-NO" dirty="0"/>
              <a:t>Supports </a:t>
            </a:r>
            <a:r>
              <a:rPr lang="nb-NO" dirty="0" err="1"/>
              <a:t>various</a:t>
            </a:r>
            <a:r>
              <a:rPr lang="nb-NO" dirty="0"/>
              <a:t> data </a:t>
            </a:r>
            <a:r>
              <a:rPr lang="nb-NO" dirty="0" err="1"/>
              <a:t>architectures</a:t>
            </a:r>
            <a:r>
              <a:rPr lang="nb-NO" dirty="0"/>
              <a:t>, </a:t>
            </a:r>
            <a:r>
              <a:rPr lang="nb-NO" dirty="0" err="1"/>
              <a:t>including</a:t>
            </a:r>
            <a:r>
              <a:rPr lang="nb-NO" dirty="0"/>
              <a:t> data </a:t>
            </a:r>
            <a:r>
              <a:rPr lang="nb-NO" dirty="0" err="1"/>
              <a:t>mesh</a:t>
            </a:r>
            <a:endParaRPr lang="nb-NO" dirty="0"/>
          </a:p>
          <a:p>
            <a:pPr marL="342900" indent="-342900">
              <a:buFontTx/>
              <a:buChar char="-"/>
            </a:pPr>
            <a:r>
              <a:rPr lang="nb-NO" dirty="0"/>
              <a:t>Data as </a:t>
            </a:r>
            <a:r>
              <a:rPr lang="nb-NO" dirty="0" err="1"/>
              <a:t>product</a:t>
            </a:r>
            <a:endParaRPr lang="nb-NO" dirty="0"/>
          </a:p>
          <a:p>
            <a:pPr marL="342900" indent="-342900">
              <a:buFontTx/>
              <a:buChar char="-"/>
            </a:pPr>
            <a:r>
              <a:rPr lang="nb-NO" dirty="0"/>
              <a:t>Make </a:t>
            </a:r>
            <a:r>
              <a:rPr lang="nb-NO" dirty="0" err="1"/>
              <a:t>the</a:t>
            </a:r>
            <a:r>
              <a:rPr lang="nb-NO" dirty="0"/>
              <a:t> </a:t>
            </a:r>
            <a:r>
              <a:rPr lang="nb-NO" dirty="0" err="1"/>
              <a:t>code</a:t>
            </a:r>
            <a:r>
              <a:rPr lang="nb-NO" dirty="0"/>
              <a:t> </a:t>
            </a:r>
            <a:r>
              <a:rPr lang="nb-NO" dirty="0" err="1"/>
              <a:t>your</a:t>
            </a:r>
            <a:r>
              <a:rPr lang="nb-NO" dirty="0"/>
              <a:t> </a:t>
            </a:r>
            <a:r>
              <a:rPr lang="nb-NO" dirty="0" err="1"/>
              <a:t>own</a:t>
            </a:r>
            <a:r>
              <a:rPr lang="nb-NO" dirty="0"/>
              <a:t> – </a:t>
            </a:r>
            <a:r>
              <a:rPr lang="nb-NO" dirty="0" err="1"/>
              <a:t>fit</a:t>
            </a:r>
            <a:r>
              <a:rPr lang="nb-NO" dirty="0"/>
              <a:t> </a:t>
            </a:r>
            <a:r>
              <a:rPr lang="nb-NO" dirty="0" err="1"/>
              <a:t>your</a:t>
            </a:r>
            <a:r>
              <a:rPr lang="nb-NO" dirty="0"/>
              <a:t> </a:t>
            </a:r>
            <a:r>
              <a:rPr lang="nb-NO" dirty="0" err="1"/>
              <a:t>needs</a:t>
            </a:r>
            <a:endParaRPr lang="nb-NO" dirty="0"/>
          </a:p>
          <a:p>
            <a:endParaRPr lang="nb-NO" dirty="0"/>
          </a:p>
          <a:p>
            <a:pPr marL="342900" indent="-342900">
              <a:buFontTx/>
              <a:buChar char="-"/>
            </a:pPr>
            <a:endParaRPr lang="nb-NO" dirty="0"/>
          </a:p>
        </p:txBody>
      </p:sp>
      <p:sp>
        <p:nvSpPr>
          <p:cNvPr id="3" name="Tittel 2">
            <a:extLst>
              <a:ext uri="{FF2B5EF4-FFF2-40B4-BE49-F238E27FC236}">
                <a16:creationId xmlns:a16="http://schemas.microsoft.com/office/drawing/2014/main" id="{6A56BB9F-F1FE-75F1-D535-7F18F2B85C14}"/>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br>
              <a:rPr lang="nb-NO" b="1" dirty="0"/>
            </a:br>
            <a:endParaRPr lang="nb-NO" dirty="0"/>
          </a:p>
        </p:txBody>
      </p:sp>
    </p:spTree>
    <p:extLst>
      <p:ext uri="{BB962C8B-B14F-4D97-AF65-F5344CB8AC3E}">
        <p14:creationId xmlns:p14="http://schemas.microsoft.com/office/powerpoint/2010/main" val="2519492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C6C64885-29F5-D008-4FEE-093DABBD90FC}"/>
              </a:ext>
            </a:extLst>
          </p:cNvPr>
          <p:cNvSpPr>
            <a:spLocks noGrp="1"/>
          </p:cNvSpPr>
          <p:nvPr>
            <p:ph type="title"/>
          </p:nvPr>
        </p:nvSpPr>
        <p:spPr/>
        <p:txBody>
          <a:bodyPr/>
          <a:lstStyle/>
          <a:p>
            <a:r>
              <a:rPr lang="en-GB" dirty="0"/>
              <a:t>TODAY’s Scenario: </a:t>
            </a:r>
            <a:r>
              <a:rPr lang="nb-NO" b="1" dirty="0" err="1"/>
              <a:t>Cloud</a:t>
            </a:r>
            <a:r>
              <a:rPr lang="nb-NO" b="1" dirty="0"/>
              <a:t> </a:t>
            </a:r>
            <a:r>
              <a:rPr lang="nb-NO" b="1" dirty="0" err="1"/>
              <a:t>scale</a:t>
            </a:r>
            <a:r>
              <a:rPr lang="nb-NO" b="1" dirty="0"/>
              <a:t> </a:t>
            </a:r>
            <a:r>
              <a:rPr lang="nb-NO" b="1" dirty="0" err="1"/>
              <a:t>analytics</a:t>
            </a:r>
            <a:r>
              <a:rPr lang="nb-NO" b="1" dirty="0"/>
              <a:t> </a:t>
            </a:r>
            <a:endParaRPr lang="nb-NO" dirty="0"/>
          </a:p>
        </p:txBody>
      </p:sp>
      <p:pic>
        <p:nvPicPr>
          <p:cNvPr id="4" name="Picture 5">
            <a:extLst>
              <a:ext uri="{FF2B5EF4-FFF2-40B4-BE49-F238E27FC236}">
                <a16:creationId xmlns:a16="http://schemas.microsoft.com/office/drawing/2014/main" id="{D66D2536-A89B-D0E4-F9A5-543D3B99D462}"/>
              </a:ext>
            </a:extLst>
          </p:cNvPr>
          <p:cNvPicPr>
            <a:picLocks noChangeAspect="1"/>
          </p:cNvPicPr>
          <p:nvPr/>
        </p:nvPicPr>
        <p:blipFill>
          <a:blip r:embed="rId2"/>
          <a:stretch>
            <a:fillRect/>
          </a:stretch>
        </p:blipFill>
        <p:spPr>
          <a:xfrm>
            <a:off x="2423592" y="1104899"/>
            <a:ext cx="7344816" cy="5504188"/>
          </a:xfrm>
          <a:prstGeom prst="rect">
            <a:avLst/>
          </a:prstGeom>
        </p:spPr>
      </p:pic>
    </p:spTree>
    <p:extLst>
      <p:ext uri="{BB962C8B-B14F-4D97-AF65-F5344CB8AC3E}">
        <p14:creationId xmlns:p14="http://schemas.microsoft.com/office/powerpoint/2010/main" val="2797848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12912158-21BF-2F52-86DF-82BB6B4072EF}"/>
              </a:ext>
            </a:extLst>
          </p:cNvPr>
          <p:cNvSpPr>
            <a:spLocks noGrp="1"/>
          </p:cNvSpPr>
          <p:nvPr>
            <p:ph type="body" sz="quarter" idx="10"/>
          </p:nvPr>
        </p:nvSpPr>
        <p:spPr/>
        <p:txBody>
          <a:bodyPr/>
          <a:lstStyle/>
          <a:p>
            <a:r>
              <a:rPr lang="nb-NO" dirty="0"/>
              <a:t>Questions?</a:t>
            </a:r>
          </a:p>
        </p:txBody>
      </p:sp>
      <p:sp>
        <p:nvSpPr>
          <p:cNvPr id="3" name="Tittel 2">
            <a:extLst>
              <a:ext uri="{FF2B5EF4-FFF2-40B4-BE49-F238E27FC236}">
                <a16:creationId xmlns:a16="http://schemas.microsoft.com/office/drawing/2014/main" id="{9403BF7E-6E9F-BFEF-A7C4-46C510998260}"/>
              </a:ext>
            </a:extLst>
          </p:cNvPr>
          <p:cNvSpPr>
            <a:spLocks noGrp="1"/>
          </p:cNvSpPr>
          <p:nvPr>
            <p:ph type="title"/>
          </p:nvPr>
        </p:nvSpPr>
        <p:spPr/>
        <p:txBody>
          <a:bodyPr/>
          <a:lstStyle/>
          <a:p>
            <a:r>
              <a:rPr lang="nb-NO" dirty="0"/>
              <a:t>The end</a:t>
            </a:r>
          </a:p>
        </p:txBody>
      </p:sp>
    </p:spTree>
    <p:extLst>
      <p:ext uri="{BB962C8B-B14F-4D97-AF65-F5344CB8AC3E}">
        <p14:creationId xmlns:p14="http://schemas.microsoft.com/office/powerpoint/2010/main" val="5526614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dirty="0"/>
              <a:t>capgemini.com</a:t>
            </a:r>
          </a:p>
        </p:txBody>
      </p:sp>
      <p:sp>
        <p:nvSpPr>
          <p:cNvPr id="7" name="Plassholder for tekst 3">
            <a:extLst>
              <a:ext uri="{FF2B5EF4-FFF2-40B4-BE49-F238E27FC236}">
                <a16:creationId xmlns:a16="http://schemas.microsoft.com/office/drawing/2014/main" id="{94C671BA-1A60-C7F5-4E5F-167404D33E92}"/>
              </a:ext>
            </a:extLst>
          </p:cNvPr>
          <p:cNvSpPr txBox="1">
            <a:spLocks/>
          </p:cNvSpPr>
          <p:nvPr/>
        </p:nvSpPr>
        <p:spPr>
          <a:xfrm>
            <a:off x="3171825" y="1457325"/>
            <a:ext cx="7153275" cy="60007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solidFill>
                  <a:schemeClr val="bg1"/>
                </a:solidFill>
              </a:rPr>
              <a:t>Johan Ludvig Brattås</a:t>
            </a:r>
          </a:p>
        </p:txBody>
      </p:sp>
      <p:sp>
        <p:nvSpPr>
          <p:cNvPr id="8" name="Plassholder for tekst 4">
            <a:extLst>
              <a:ext uri="{FF2B5EF4-FFF2-40B4-BE49-F238E27FC236}">
                <a16:creationId xmlns:a16="http://schemas.microsoft.com/office/drawing/2014/main" id="{DCADE157-37A0-03AD-F083-EAC742E02C1D}"/>
              </a:ext>
            </a:extLst>
          </p:cNvPr>
          <p:cNvSpPr txBox="1">
            <a:spLocks/>
          </p:cNvSpPr>
          <p:nvPr/>
        </p:nvSpPr>
        <p:spPr>
          <a:xfrm>
            <a:off x="3171825" y="2076450"/>
            <a:ext cx="7153275" cy="409575"/>
          </a:xfrm>
          <a:prstGeom prst="rect">
            <a:avLst/>
          </a:prstGeom>
        </p:spPr>
        <p:txBody>
          <a:bodyP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solidFill>
                  <a:schemeClr val="bg1"/>
                </a:solidFill>
              </a:rPr>
              <a:t>Principal Solution Architect</a:t>
            </a:r>
          </a:p>
        </p:txBody>
      </p:sp>
      <p:sp>
        <p:nvSpPr>
          <p:cNvPr id="9" name="Plassholder for tekst 5">
            <a:extLst>
              <a:ext uri="{FF2B5EF4-FFF2-40B4-BE49-F238E27FC236}">
                <a16:creationId xmlns:a16="http://schemas.microsoft.com/office/drawing/2014/main" id="{D0D679CE-4FEF-2523-0E6B-343EF1D9D259}"/>
              </a:ext>
            </a:extLst>
          </p:cNvPr>
          <p:cNvSpPr txBox="1">
            <a:spLocks/>
          </p:cNvSpPr>
          <p:nvPr/>
        </p:nvSpPr>
        <p:spPr>
          <a:xfrm>
            <a:off x="3171825" y="2495550"/>
            <a:ext cx="7153275" cy="60007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b-NO" dirty="0"/>
          </a:p>
        </p:txBody>
      </p:sp>
      <p:sp>
        <p:nvSpPr>
          <p:cNvPr id="10" name="Plassholder for tekst 6">
            <a:extLst>
              <a:ext uri="{FF2B5EF4-FFF2-40B4-BE49-F238E27FC236}">
                <a16:creationId xmlns:a16="http://schemas.microsoft.com/office/drawing/2014/main" id="{7A797E15-C32F-CC72-8EAB-EA860E3B2285}"/>
              </a:ext>
            </a:extLst>
          </p:cNvPr>
          <p:cNvSpPr txBox="1">
            <a:spLocks/>
          </p:cNvSpPr>
          <p:nvPr/>
        </p:nvSpPr>
        <p:spPr>
          <a:xfrm>
            <a:off x="3171825" y="3152775"/>
            <a:ext cx="7153275" cy="21096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Founder – </a:t>
            </a:r>
            <a:r>
              <a:rPr lang="en-US" dirty="0" err="1">
                <a:solidFill>
                  <a:schemeClr val="bg1"/>
                </a:solidFill>
              </a:rPr>
              <a:t>DataSaturdays</a:t>
            </a:r>
            <a:br>
              <a:rPr lang="en-US" dirty="0">
                <a:solidFill>
                  <a:schemeClr val="bg1"/>
                </a:solidFill>
              </a:rPr>
            </a:br>
            <a:r>
              <a:rPr lang="en-US" dirty="0">
                <a:solidFill>
                  <a:schemeClr val="bg1"/>
                </a:solidFill>
              </a:rPr>
              <a:t>Co-organizer – </a:t>
            </a:r>
            <a:r>
              <a:rPr lang="en-US" dirty="0" err="1">
                <a:solidFill>
                  <a:schemeClr val="bg1"/>
                </a:solidFill>
              </a:rPr>
              <a:t>SQLSatOslo</a:t>
            </a:r>
            <a:br>
              <a:rPr lang="en-US" dirty="0">
                <a:solidFill>
                  <a:schemeClr val="bg1"/>
                </a:solidFill>
              </a:rPr>
            </a:br>
            <a:r>
              <a:rPr lang="en-US" dirty="0">
                <a:solidFill>
                  <a:schemeClr val="bg1"/>
                </a:solidFill>
              </a:rPr>
              <a:t>Leader – MDPUG Oslo</a:t>
            </a:r>
            <a:br>
              <a:rPr lang="en-US" dirty="0">
                <a:solidFill>
                  <a:schemeClr val="bg1"/>
                </a:solidFill>
              </a:rPr>
            </a:br>
            <a:r>
              <a:rPr lang="en-US" dirty="0">
                <a:solidFill>
                  <a:schemeClr val="bg1"/>
                </a:solidFill>
              </a:rPr>
              <a:t>Frequent volunteer in general</a:t>
            </a:r>
          </a:p>
          <a:p>
            <a:endParaRPr lang="nb-NO" dirty="0"/>
          </a:p>
        </p:txBody>
      </p:sp>
      <p:pic>
        <p:nvPicPr>
          <p:cNvPr id="11" name="Picture 2">
            <a:extLst>
              <a:ext uri="{FF2B5EF4-FFF2-40B4-BE49-F238E27FC236}">
                <a16:creationId xmlns:a16="http://schemas.microsoft.com/office/drawing/2014/main" id="{2B817B92-929E-0942-C0F0-223937F73E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434" b="13434"/>
          <a:stretch/>
        </p:blipFill>
        <p:spPr bwMode="auto">
          <a:xfrm>
            <a:off x="771525" y="1504950"/>
            <a:ext cx="2295525" cy="223837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3" name="Picture 9">
            <a:extLst>
              <a:ext uri="{FF2B5EF4-FFF2-40B4-BE49-F238E27FC236}">
                <a16:creationId xmlns:a16="http://schemas.microsoft.com/office/drawing/2014/main" id="{9F2AC281-A25B-093A-E9C0-EF0C3B35E27F}"/>
              </a:ext>
            </a:extLst>
          </p:cNvPr>
          <p:cNvPicPr>
            <a:picLocks noChangeAspect="1"/>
          </p:cNvPicPr>
          <p:nvPr/>
        </p:nvPicPr>
        <p:blipFill>
          <a:blip r:embed="rId4"/>
          <a:stretch>
            <a:fillRect/>
          </a:stretch>
        </p:blipFill>
        <p:spPr>
          <a:xfrm>
            <a:off x="8113362" y="5724525"/>
            <a:ext cx="3272238" cy="878408"/>
          </a:xfrm>
          <a:prstGeom prst="rect">
            <a:avLst/>
          </a:prstGeom>
        </p:spPr>
      </p:pic>
      <p:sp>
        <p:nvSpPr>
          <p:cNvPr id="14" name="Text Placeholder 156">
            <a:extLst>
              <a:ext uri="{FF2B5EF4-FFF2-40B4-BE49-F238E27FC236}">
                <a16:creationId xmlns:a16="http://schemas.microsoft.com/office/drawing/2014/main" id="{2C8AE221-1C63-0481-80FF-7653CEF2443D}"/>
              </a:ext>
            </a:extLst>
          </p:cNvPr>
          <p:cNvSpPr txBox="1">
            <a:spLocks/>
          </p:cNvSpPr>
          <p:nvPr/>
        </p:nvSpPr>
        <p:spPr>
          <a:xfrm>
            <a:off x="5825539" y="4840204"/>
            <a:ext cx="2481551" cy="34925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johanludvig</a:t>
            </a:r>
            <a:endParaRPr lang="en-US" sz="2000" dirty="0">
              <a:solidFill>
                <a:schemeClr val="bg1"/>
              </a:solidFill>
            </a:endParaRPr>
          </a:p>
        </p:txBody>
      </p:sp>
      <p:sp>
        <p:nvSpPr>
          <p:cNvPr id="15" name="Text Placeholder 157">
            <a:extLst>
              <a:ext uri="{FF2B5EF4-FFF2-40B4-BE49-F238E27FC236}">
                <a16:creationId xmlns:a16="http://schemas.microsoft.com/office/drawing/2014/main" id="{0EA04DA9-1129-B5DE-CC98-6CB070E628D0}"/>
              </a:ext>
            </a:extLst>
          </p:cNvPr>
          <p:cNvSpPr txBox="1">
            <a:spLocks/>
          </p:cNvSpPr>
          <p:nvPr/>
        </p:nvSpPr>
        <p:spPr>
          <a:xfrm>
            <a:off x="3721059" y="4862745"/>
            <a:ext cx="2478262" cy="34925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intoleranse</a:t>
            </a:r>
            <a:endParaRPr lang="en-US" sz="2000" dirty="0">
              <a:solidFill>
                <a:schemeClr val="bg1"/>
              </a:solidFill>
            </a:endParaRPr>
          </a:p>
        </p:txBody>
      </p:sp>
      <p:grpSp>
        <p:nvGrpSpPr>
          <p:cNvPr id="16" name="Group 12">
            <a:extLst>
              <a:ext uri="{FF2B5EF4-FFF2-40B4-BE49-F238E27FC236}">
                <a16:creationId xmlns:a16="http://schemas.microsoft.com/office/drawing/2014/main" id="{27516597-AEF7-2023-06C9-503597FF20C9}"/>
              </a:ext>
            </a:extLst>
          </p:cNvPr>
          <p:cNvGrpSpPr/>
          <p:nvPr/>
        </p:nvGrpSpPr>
        <p:grpSpPr>
          <a:xfrm>
            <a:off x="3347940" y="4886165"/>
            <a:ext cx="306133" cy="306133"/>
            <a:chOff x="5748554" y="5146675"/>
            <a:chExt cx="353832" cy="353832"/>
          </a:xfrm>
        </p:grpSpPr>
        <p:sp>
          <p:nvSpPr>
            <p:cNvPr id="17" name="Freeform 383">
              <a:extLst>
                <a:ext uri="{FF2B5EF4-FFF2-40B4-BE49-F238E27FC236}">
                  <a16:creationId xmlns:a16="http://schemas.microsoft.com/office/drawing/2014/main" id="{FECE6B76-AB7C-E154-1A12-190CCB0A6577}"/>
                </a:ext>
              </a:extLst>
            </p:cNvPr>
            <p:cNvSpPr>
              <a:spLocks/>
            </p:cNvSpPr>
            <p:nvPr/>
          </p:nvSpPr>
          <p:spPr bwMode="auto">
            <a:xfrm>
              <a:off x="5852152" y="5257801"/>
              <a:ext cx="159335" cy="137931"/>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pPr defTabSz="806867"/>
              <a:endParaRPr lang="en-US" sz="2400">
                <a:solidFill>
                  <a:prstClr val="black"/>
                </a:solidFill>
                <a:latin typeface="Verdana"/>
              </a:endParaRPr>
            </a:p>
          </p:txBody>
        </p:sp>
        <p:sp>
          <p:nvSpPr>
            <p:cNvPr id="18" name="Rounded Rectangle 92">
              <a:extLst>
                <a:ext uri="{FF2B5EF4-FFF2-40B4-BE49-F238E27FC236}">
                  <a16:creationId xmlns:a16="http://schemas.microsoft.com/office/drawing/2014/main" id="{DBF87575-5B53-31D0-9853-4A649045584E}"/>
                </a:ext>
              </a:extLst>
            </p:cNvPr>
            <p:cNvSpPr/>
            <p:nvPr/>
          </p:nvSpPr>
          <p:spPr>
            <a:xfrm>
              <a:off x="5748554" y="5146675"/>
              <a:ext cx="353832" cy="353832"/>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grpSp>
        <p:nvGrpSpPr>
          <p:cNvPr id="19" name="Group 15">
            <a:extLst>
              <a:ext uri="{FF2B5EF4-FFF2-40B4-BE49-F238E27FC236}">
                <a16:creationId xmlns:a16="http://schemas.microsoft.com/office/drawing/2014/main" id="{C9E096E8-2B26-A864-5538-3C188D0EE7C0}"/>
              </a:ext>
            </a:extLst>
          </p:cNvPr>
          <p:cNvGrpSpPr/>
          <p:nvPr/>
        </p:nvGrpSpPr>
        <p:grpSpPr>
          <a:xfrm>
            <a:off x="5450577" y="4882977"/>
            <a:ext cx="306133" cy="306133"/>
            <a:chOff x="3348740" y="4138863"/>
            <a:chExt cx="229600" cy="229600"/>
          </a:xfrm>
        </p:grpSpPr>
        <p:sp>
          <p:nvSpPr>
            <p:cNvPr id="20" name="Rounded Rectangle 94">
              <a:extLst>
                <a:ext uri="{FF2B5EF4-FFF2-40B4-BE49-F238E27FC236}">
                  <a16:creationId xmlns:a16="http://schemas.microsoft.com/office/drawing/2014/main" id="{3C09DAE0-6D31-A44A-AC49-813278F353FE}"/>
                </a:ext>
              </a:extLst>
            </p:cNvPr>
            <p:cNvSpPr/>
            <p:nvPr/>
          </p:nvSpPr>
          <p:spPr>
            <a:xfrm>
              <a:off x="3348740" y="4138863"/>
              <a:ext cx="229600" cy="22960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nvGrpSpPr>
            <p:cNvPr id="21" name="Group 1216">
              <a:extLst>
                <a:ext uri="{FF2B5EF4-FFF2-40B4-BE49-F238E27FC236}">
                  <a16:creationId xmlns:a16="http://schemas.microsoft.com/office/drawing/2014/main" id="{186D4776-9C0C-51D2-E3C8-C3FD496E82C3}"/>
                </a:ext>
              </a:extLst>
            </p:cNvPr>
            <p:cNvGrpSpPr>
              <a:grpSpLocks/>
            </p:cNvGrpSpPr>
            <p:nvPr/>
          </p:nvGrpSpPr>
          <p:grpSpPr bwMode="auto">
            <a:xfrm>
              <a:off x="3416337" y="4197351"/>
              <a:ext cx="101582" cy="101580"/>
              <a:chOff x="8400256" y="3573016"/>
              <a:chExt cx="423863" cy="422275"/>
            </a:xfrm>
            <a:solidFill>
              <a:schemeClr val="tx1"/>
            </a:solidFill>
          </p:grpSpPr>
          <p:sp>
            <p:nvSpPr>
              <p:cNvPr id="22" name="Oval 315">
                <a:extLst>
                  <a:ext uri="{FF2B5EF4-FFF2-40B4-BE49-F238E27FC236}">
                    <a16:creationId xmlns:a16="http://schemas.microsoft.com/office/drawing/2014/main" id="{5671938C-5E89-B5BF-EB04-8E93FBA5E2AF}"/>
                  </a:ext>
                </a:extLst>
              </p:cNvPr>
              <p:cNvSpPr>
                <a:spLocks noChangeArrowheads="1"/>
              </p:cNvSpPr>
              <p:nvPr/>
            </p:nvSpPr>
            <p:spPr bwMode="auto">
              <a:xfrm>
                <a:off x="8400256" y="3573016"/>
                <a:ext cx="103188" cy="101600"/>
              </a:xfrm>
              <a:prstGeom prst="ellipse">
                <a:avLst/>
              </a:prstGeom>
              <a:solidFill>
                <a:schemeClr val="bg1"/>
              </a:solidFill>
              <a:ln w="9525">
                <a:solidFill>
                  <a:schemeClr val="bg1"/>
                </a:solidFill>
                <a:round/>
                <a:headEnd/>
                <a:tailEnd/>
              </a:ln>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23" name="Rectangle 316">
                <a:extLst>
                  <a:ext uri="{FF2B5EF4-FFF2-40B4-BE49-F238E27FC236}">
                    <a16:creationId xmlns:a16="http://schemas.microsoft.com/office/drawing/2014/main" id="{8D636612-8AE9-8E4D-6201-E6F919DD84E6}"/>
                  </a:ext>
                </a:extLst>
              </p:cNvPr>
              <p:cNvSpPr>
                <a:spLocks noChangeArrowheads="1"/>
              </p:cNvSpPr>
              <p:nvPr/>
            </p:nvSpPr>
            <p:spPr bwMode="auto">
              <a:xfrm>
                <a:off x="8408194" y="3714304"/>
                <a:ext cx="87313" cy="280987"/>
              </a:xfrm>
              <a:prstGeom prst="rect">
                <a:avLst/>
              </a:prstGeom>
              <a:solidFill>
                <a:schemeClr val="bg1"/>
              </a:solidFill>
              <a:ln w="9525">
                <a:solidFill>
                  <a:schemeClr val="bg1"/>
                </a:solidFill>
                <a:miter lim="800000"/>
                <a:headEnd/>
                <a:tailEnd/>
              </a:ln>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24" name="Freeform 317">
                <a:extLst>
                  <a:ext uri="{FF2B5EF4-FFF2-40B4-BE49-F238E27FC236}">
                    <a16:creationId xmlns:a16="http://schemas.microsoft.com/office/drawing/2014/main" id="{C7FEA95B-E975-E627-385F-E698FADCC046}"/>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chemeClr val="bg1"/>
              </a:solidFill>
              <a:ln w="9525">
                <a:solidFill>
                  <a:schemeClr val="bg1"/>
                </a:solidFill>
                <a:round/>
                <a:headEnd/>
                <a:tailEnd/>
              </a:ln>
            </p:spPr>
            <p:txBody>
              <a:bodyPr/>
              <a:lstStyle/>
              <a:p>
                <a:pPr defTabSz="806867"/>
                <a:endParaRPr lang="en-US" sz="2400">
                  <a:solidFill>
                    <a:prstClr val="black"/>
                  </a:solidFill>
                  <a:latin typeface="Verdana"/>
                </a:endParaRPr>
              </a:p>
            </p:txBody>
          </p:sp>
        </p:grpSp>
      </p:grpSp>
      <p:sp>
        <p:nvSpPr>
          <p:cNvPr id="25" name="Text Placeholder 157">
            <a:extLst>
              <a:ext uri="{FF2B5EF4-FFF2-40B4-BE49-F238E27FC236}">
                <a16:creationId xmlns:a16="http://schemas.microsoft.com/office/drawing/2014/main" id="{865AC1CD-3FBC-72D0-E231-4352C3BEB10A}"/>
              </a:ext>
            </a:extLst>
          </p:cNvPr>
          <p:cNvSpPr txBox="1">
            <a:spLocks/>
          </p:cNvSpPr>
          <p:nvPr/>
        </p:nvSpPr>
        <p:spPr>
          <a:xfrm>
            <a:off x="3721058" y="5226826"/>
            <a:ext cx="4140379" cy="349250"/>
          </a:xfrm>
        </p:spPr>
        <p:txBody>
          <a:bodyPr/>
          <a:lstStyle>
            <a:lvl1pPr marL="0" indent="0" algn="l" defTabSz="1381750" rtl="0" eaLnBrk="1" latinLnBrk="0" hangingPunct="1">
              <a:lnSpc>
                <a:spcPct val="90000"/>
              </a:lnSpc>
              <a:spcBef>
                <a:spcPts val="1133"/>
              </a:spcBef>
              <a:buFont typeface="Arial" panose="020B0604020202020204" pitchFamily="34" charset="0"/>
              <a:buNone/>
              <a:defRPr lang="en-US" sz="1662" kern="1200" dirty="0">
                <a:solidFill>
                  <a:schemeClr val="accent1"/>
                </a:solidFill>
                <a:latin typeface="+mn-lt"/>
                <a:ea typeface="+mn-ea"/>
                <a:cs typeface="+mn-cs"/>
              </a:defRPr>
            </a:lvl1pPr>
            <a:lvl2pPr marL="611699" indent="-203300" algn="l" defTabSz="1036290" rtl="0" eaLnBrk="1" latinLnBrk="0" hangingPunct="1">
              <a:lnSpc>
                <a:spcPct val="90000"/>
              </a:lnSpc>
              <a:spcBef>
                <a:spcPts val="567"/>
              </a:spcBef>
              <a:buClr>
                <a:schemeClr val="accent1"/>
              </a:buClr>
              <a:buFont typeface="Arial" panose="020B0604020202020204" pitchFamily="34" charset="0"/>
              <a:buChar char="•"/>
              <a:defRPr sz="2040" kern="1200">
                <a:solidFill>
                  <a:schemeClr val="tx1"/>
                </a:solidFill>
                <a:latin typeface="+mj-lt"/>
                <a:ea typeface="+mn-ea"/>
                <a:cs typeface="+mn-cs"/>
              </a:defRPr>
            </a:lvl2pPr>
            <a:lvl3pPr marL="1020098" indent="-203300" algn="l" defTabSz="1036290" rtl="0" eaLnBrk="1" latinLnBrk="0" hangingPunct="1">
              <a:lnSpc>
                <a:spcPct val="90000"/>
              </a:lnSpc>
              <a:spcBef>
                <a:spcPts val="567"/>
              </a:spcBef>
              <a:buClr>
                <a:schemeClr val="accent2"/>
              </a:buClr>
              <a:buFont typeface="Arial" panose="020B0604020202020204" pitchFamily="34" charset="0"/>
              <a:buChar char="•"/>
              <a:defRPr sz="1813" kern="1200">
                <a:solidFill>
                  <a:schemeClr val="tx1"/>
                </a:solidFill>
                <a:latin typeface="+mj-lt"/>
                <a:ea typeface="+mn-ea"/>
                <a:cs typeface="+mn-cs"/>
              </a:defRPr>
            </a:lvl3pPr>
            <a:lvl4pPr marL="1428496" indent="-203300" algn="l" defTabSz="1036290" rtl="0" eaLnBrk="1" latinLnBrk="0" hangingPunct="1">
              <a:lnSpc>
                <a:spcPct val="90000"/>
              </a:lnSpc>
              <a:spcBef>
                <a:spcPts val="567"/>
              </a:spcBef>
              <a:buClr>
                <a:schemeClr val="accent3"/>
              </a:buClr>
              <a:buFont typeface="Arial" panose="020B0604020202020204" pitchFamily="34" charset="0"/>
              <a:buChar char="•"/>
              <a:defRPr sz="1587" kern="1200">
                <a:solidFill>
                  <a:schemeClr val="tx1"/>
                </a:solidFill>
                <a:latin typeface="+mj-lt"/>
                <a:ea typeface="+mn-ea"/>
                <a:cs typeface="+mn-cs"/>
              </a:defRPr>
            </a:lvl4pPr>
            <a:lvl5pPr marL="1836896" indent="-203300" algn="l" defTabSz="1036290" rtl="0" eaLnBrk="1" latinLnBrk="0" hangingPunct="1">
              <a:lnSpc>
                <a:spcPct val="90000"/>
              </a:lnSpc>
              <a:spcBef>
                <a:spcPts val="567"/>
              </a:spcBef>
              <a:buClr>
                <a:schemeClr val="accent5"/>
              </a:buClr>
              <a:buFont typeface="Arial" panose="020B0604020202020204" pitchFamily="34" charset="0"/>
              <a:buChar char="•"/>
              <a:defRPr sz="1587" kern="1200">
                <a:solidFill>
                  <a:schemeClr val="tx1"/>
                </a:solidFill>
                <a:latin typeface="+mj-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defTabSz="1219256">
              <a:spcBef>
                <a:spcPts val="1000"/>
              </a:spcBef>
            </a:pPr>
            <a:r>
              <a:rPr lang="nb-NO" sz="1467" dirty="0" err="1">
                <a:solidFill>
                  <a:schemeClr val="bg1"/>
                </a:solidFill>
                <a:latin typeface="Verdana"/>
              </a:rPr>
              <a:t>johan-ludvig.brattas@capgemini.com</a:t>
            </a:r>
            <a:endParaRPr lang="nb-NO" sz="1467" dirty="0">
              <a:solidFill>
                <a:schemeClr val="bg1"/>
              </a:solidFill>
              <a:latin typeface="Verdana"/>
            </a:endParaRPr>
          </a:p>
        </p:txBody>
      </p:sp>
      <p:pic>
        <p:nvPicPr>
          <p:cNvPr id="26" name="Graphic 22" descr="Envelope">
            <a:extLst>
              <a:ext uri="{FF2B5EF4-FFF2-40B4-BE49-F238E27FC236}">
                <a16:creationId xmlns:a16="http://schemas.microsoft.com/office/drawing/2014/main" id="{22F7E55F-D857-63BC-2081-F8D672A2094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7661" y="5200244"/>
            <a:ext cx="337677" cy="337677"/>
          </a:xfrm>
          <a:prstGeom prst="rect">
            <a:avLst/>
          </a:prstGeom>
        </p:spPr>
      </p:pic>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12912158-21BF-2F52-86DF-82BB6B4072EF}"/>
              </a:ext>
            </a:extLst>
          </p:cNvPr>
          <p:cNvSpPr>
            <a:spLocks noGrp="1"/>
          </p:cNvSpPr>
          <p:nvPr>
            <p:ph type="body" sz="quarter" idx="10"/>
          </p:nvPr>
        </p:nvSpPr>
        <p:spPr/>
        <p:txBody>
          <a:bodyPr/>
          <a:lstStyle/>
          <a:p>
            <a:r>
              <a:rPr lang="nb-NO" dirty="0">
                <a:hlinkClick r:id="rId2"/>
              </a:rPr>
              <a:t>https://docs.microsoft.com/en-us/azure/cloud-adoption-framework/</a:t>
            </a:r>
          </a:p>
          <a:p>
            <a:r>
              <a:rPr lang="nb-NO" dirty="0">
                <a:hlinkClick r:id="rId2"/>
              </a:rPr>
              <a:t>https://docs.microsoft.com/en-us/azure/cloud-adoption-framework/scenarios/cloud-scale-analytics/</a:t>
            </a:r>
          </a:p>
          <a:p>
            <a:r>
              <a:rPr lang="nb-NO" dirty="0">
                <a:hlinkClick r:id="rId2"/>
              </a:rPr>
              <a:t>https://github.com/Azure/Enterprise-Scale</a:t>
            </a:r>
            <a:endParaRPr lang="nb-NO" dirty="0"/>
          </a:p>
          <a:p>
            <a:r>
              <a:rPr lang="nb-NO" dirty="0">
                <a:hlinkClick r:id="rId3"/>
              </a:rPr>
              <a:t>https://github.com/Azure/ALZ-Bicep</a:t>
            </a:r>
            <a:endParaRPr lang="nb-NO" dirty="0"/>
          </a:p>
          <a:p>
            <a:r>
              <a:rPr lang="nb-NO" dirty="0">
                <a:hlinkClick r:id="rId4"/>
              </a:rPr>
              <a:t>https://github.com/Azure/data-management-zone</a:t>
            </a:r>
            <a:endParaRPr lang="nb-NO" dirty="0"/>
          </a:p>
          <a:p>
            <a:r>
              <a:rPr lang="nb-NO" dirty="0"/>
              <a:t> </a:t>
            </a:r>
          </a:p>
        </p:txBody>
      </p:sp>
      <p:sp>
        <p:nvSpPr>
          <p:cNvPr id="3" name="Tittel 2">
            <a:extLst>
              <a:ext uri="{FF2B5EF4-FFF2-40B4-BE49-F238E27FC236}">
                <a16:creationId xmlns:a16="http://schemas.microsoft.com/office/drawing/2014/main" id="{9403BF7E-6E9F-BFEF-A7C4-46C510998260}"/>
              </a:ext>
            </a:extLst>
          </p:cNvPr>
          <p:cNvSpPr>
            <a:spLocks noGrp="1"/>
          </p:cNvSpPr>
          <p:nvPr>
            <p:ph type="title"/>
          </p:nvPr>
        </p:nvSpPr>
        <p:spPr/>
        <p:txBody>
          <a:bodyPr/>
          <a:lstStyle/>
          <a:p>
            <a:r>
              <a:rPr lang="nb-NO" dirty="0"/>
              <a:t>Links</a:t>
            </a:r>
          </a:p>
        </p:txBody>
      </p:sp>
    </p:spTree>
    <p:extLst>
      <p:ext uri="{BB962C8B-B14F-4D97-AF65-F5344CB8AC3E}">
        <p14:creationId xmlns:p14="http://schemas.microsoft.com/office/powerpoint/2010/main" val="1817223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Everything is code</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
        <p:nvSpPr>
          <p:cNvPr id="2" name="AutoShape 2" descr="Diagram that shows an overview of the Cloud Adoption Framework.">
            <a:extLst>
              <a:ext uri="{FF2B5EF4-FFF2-40B4-BE49-F238E27FC236}">
                <a16:creationId xmlns:a16="http://schemas.microsoft.com/office/drawing/2014/main" id="{6F1B2532-6B0C-4A1B-96B9-D9D66FFF76D5}"/>
              </a:ext>
            </a:extLst>
          </p:cNvPr>
          <p:cNvSpPr>
            <a:spLocks noGrp="1" noChangeAspect="1" noChangeArrowheads="1"/>
          </p:cNvSpPr>
          <p:nvPr>
            <p:ph sz="half" idx="11"/>
          </p:nvPr>
        </p:nvSpPr>
        <p:spPr bwMode="auto">
          <a:xfrm>
            <a:off x="404812" y="2924174"/>
            <a:ext cx="6627289" cy="277239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r>
              <a:rPr lang="nn-NO" dirty="0"/>
              <a:t>Hashicorp </a:t>
            </a:r>
            <a:r>
              <a:rPr lang="nn-NO" dirty="0" err="1"/>
              <a:t>Terraform</a:t>
            </a:r>
            <a:r>
              <a:rPr lang="nn-NO" dirty="0"/>
              <a:t> </a:t>
            </a:r>
          </a:p>
          <a:p>
            <a:pPr marL="342900" indent="-342900">
              <a:buFontTx/>
              <a:buChar char="-"/>
            </a:pPr>
            <a:r>
              <a:rPr lang="nn-NO" dirty="0"/>
              <a:t>open </a:t>
            </a:r>
            <a:r>
              <a:rPr lang="nn-NO" dirty="0" err="1"/>
              <a:t>source</a:t>
            </a:r>
            <a:r>
              <a:rPr lang="nn-NO" dirty="0"/>
              <a:t>, multi-cloud, </a:t>
            </a:r>
            <a:r>
              <a:rPr lang="nn-NO" dirty="0" err="1"/>
              <a:t>popular</a:t>
            </a:r>
            <a:endParaRPr lang="nn-NO" dirty="0"/>
          </a:p>
          <a:p>
            <a:pPr marL="342900" indent="-342900">
              <a:buFontTx/>
              <a:buChar char="-"/>
            </a:pPr>
            <a:r>
              <a:rPr lang="nn-NO" dirty="0" err="1"/>
              <a:t>declarative</a:t>
            </a:r>
            <a:r>
              <a:rPr lang="nn-NO" dirty="0"/>
              <a:t> </a:t>
            </a:r>
            <a:r>
              <a:rPr lang="nn-NO" dirty="0" err="1"/>
              <a:t>language</a:t>
            </a:r>
            <a:r>
              <a:rPr lang="nn-NO" dirty="0"/>
              <a:t> </a:t>
            </a:r>
          </a:p>
          <a:p>
            <a:pPr marL="342900" indent="-342900">
              <a:buFontTx/>
              <a:buChar char="-"/>
            </a:pPr>
            <a:r>
              <a:rPr lang="nn-NO" dirty="0" err="1"/>
              <a:t>can</a:t>
            </a:r>
            <a:r>
              <a:rPr lang="nn-NO" dirty="0"/>
              <a:t> </a:t>
            </a:r>
            <a:r>
              <a:rPr lang="nn-NO" dirty="0" err="1"/>
              <a:t>create</a:t>
            </a:r>
            <a:r>
              <a:rPr lang="nn-NO" dirty="0"/>
              <a:t> </a:t>
            </a:r>
            <a:r>
              <a:rPr lang="nn-NO" dirty="0" err="1"/>
              <a:t>modules</a:t>
            </a:r>
            <a:r>
              <a:rPr lang="nn-NO" dirty="0"/>
              <a:t> </a:t>
            </a:r>
          </a:p>
          <a:p>
            <a:pPr marL="342900" indent="-342900">
              <a:buFontTx/>
              <a:buChar char="-"/>
            </a:pPr>
            <a:r>
              <a:rPr lang="nn-NO" dirty="0"/>
              <a:t>generates ARM </a:t>
            </a:r>
            <a:r>
              <a:rPr lang="nn-NO" dirty="0" err="1"/>
              <a:t>templates</a:t>
            </a:r>
            <a:r>
              <a:rPr lang="nn-NO" dirty="0"/>
              <a:t> </a:t>
            </a:r>
            <a:r>
              <a:rPr lang="nn-NO" dirty="0" err="1"/>
              <a:t>when</a:t>
            </a:r>
            <a:r>
              <a:rPr lang="nn-NO" dirty="0"/>
              <a:t> </a:t>
            </a:r>
            <a:r>
              <a:rPr lang="nn-NO" dirty="0" err="1"/>
              <a:t>compiled</a:t>
            </a:r>
            <a:endParaRPr lang="nn-NO" dirty="0"/>
          </a:p>
          <a:p>
            <a:pPr marL="342900" indent="-342900">
              <a:buFontTx/>
              <a:buChar char="-"/>
            </a:pPr>
            <a:r>
              <a:rPr lang="nn-NO" dirty="0" err="1"/>
              <a:t>new</a:t>
            </a:r>
            <a:r>
              <a:rPr lang="nn-NO" dirty="0"/>
              <a:t> Azure services </a:t>
            </a:r>
            <a:r>
              <a:rPr lang="nn-NO" dirty="0" err="1"/>
              <a:t>can</a:t>
            </a:r>
            <a:r>
              <a:rPr lang="nn-NO" dirty="0"/>
              <a:t> take time to </a:t>
            </a:r>
            <a:r>
              <a:rPr lang="nn-NO" dirty="0" err="1"/>
              <a:t>get</a:t>
            </a:r>
            <a:r>
              <a:rPr lang="nn-NO" dirty="0"/>
              <a:t> </a:t>
            </a:r>
            <a:r>
              <a:rPr lang="nn-NO" dirty="0" err="1"/>
              <a:t>support</a:t>
            </a:r>
            <a:endParaRPr lang="nn-NO" dirty="0"/>
          </a:p>
          <a:p>
            <a:pPr marL="342900" indent="-342900">
              <a:buFontTx/>
              <a:buChar char="-"/>
            </a:pPr>
            <a:r>
              <a:rPr lang="nn-NO" dirty="0"/>
              <a:t>New </a:t>
            </a:r>
            <a:r>
              <a:rPr lang="nn-NO" dirty="0" err="1"/>
              <a:t>module</a:t>
            </a:r>
            <a:r>
              <a:rPr lang="nn-NO" dirty="0"/>
              <a:t> to import Azure </a:t>
            </a:r>
            <a:r>
              <a:rPr lang="nn-NO" dirty="0" err="1"/>
              <a:t>resources</a:t>
            </a:r>
            <a:r>
              <a:rPr lang="nn-NO" dirty="0"/>
              <a:t> </a:t>
            </a:r>
            <a:r>
              <a:rPr lang="nn-NO" dirty="0" err="1"/>
              <a:t>into</a:t>
            </a:r>
            <a:r>
              <a:rPr lang="nn-NO" dirty="0"/>
              <a:t> </a:t>
            </a:r>
            <a:r>
              <a:rPr lang="nn-NO" dirty="0" err="1"/>
              <a:t>Terraform</a:t>
            </a:r>
            <a:endParaRPr lang="nn-NO" dirty="0"/>
          </a:p>
        </p:txBody>
      </p:sp>
      <p:pic>
        <p:nvPicPr>
          <p:cNvPr id="6146" name="Picture 2" descr="Terraform Pricing, Reviews, Features - Free Demo">
            <a:extLst>
              <a:ext uri="{FF2B5EF4-FFF2-40B4-BE49-F238E27FC236}">
                <a16:creationId xmlns:a16="http://schemas.microsoft.com/office/drawing/2014/main" id="{4A048B7B-49ED-A53D-5A34-F02BB972D1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7848" y="801649"/>
            <a:ext cx="2950446" cy="295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51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Everything is code</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72207"/>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
        <p:nvSpPr>
          <p:cNvPr id="2" name="AutoShape 2" descr="Diagram that shows an overview of the Cloud Adoption Framework.">
            <a:extLst>
              <a:ext uri="{FF2B5EF4-FFF2-40B4-BE49-F238E27FC236}">
                <a16:creationId xmlns:a16="http://schemas.microsoft.com/office/drawing/2014/main" id="{6F1B2532-6B0C-4A1B-96B9-D9D66FFF76D5}"/>
              </a:ext>
            </a:extLst>
          </p:cNvPr>
          <p:cNvSpPr>
            <a:spLocks noGrp="1" noChangeAspect="1" noChangeArrowheads="1"/>
          </p:cNvSpPr>
          <p:nvPr>
            <p:ph sz="half" idx="11"/>
          </p:nvPr>
        </p:nvSpPr>
        <p:spPr bwMode="auto">
          <a:xfrm>
            <a:off x="404813" y="2924175"/>
            <a:ext cx="5784850" cy="23050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r>
              <a:rPr lang="nn-NO" dirty="0" err="1"/>
              <a:t>Bicep</a:t>
            </a:r>
            <a:endParaRPr lang="nn-NO" dirty="0"/>
          </a:p>
          <a:p>
            <a:pPr marL="342900" indent="-342900">
              <a:buFontTx/>
              <a:buChar char="-"/>
            </a:pPr>
            <a:r>
              <a:rPr lang="nn-NO" dirty="0"/>
              <a:t>«</a:t>
            </a:r>
            <a:r>
              <a:rPr lang="nn-NO" dirty="0" err="1"/>
              <a:t>new</a:t>
            </a:r>
            <a:r>
              <a:rPr lang="nn-NO" dirty="0"/>
              <a:t>» </a:t>
            </a:r>
            <a:r>
              <a:rPr lang="nn-NO" dirty="0" err="1"/>
              <a:t>declarative</a:t>
            </a:r>
            <a:r>
              <a:rPr lang="nn-NO" dirty="0"/>
              <a:t> </a:t>
            </a:r>
            <a:r>
              <a:rPr lang="nn-NO" dirty="0" err="1"/>
              <a:t>language</a:t>
            </a:r>
            <a:r>
              <a:rPr lang="nn-NO" dirty="0"/>
              <a:t> from MS (v0.4)</a:t>
            </a:r>
          </a:p>
          <a:p>
            <a:pPr marL="342900" indent="-342900">
              <a:buFontTx/>
              <a:buChar char="-"/>
            </a:pPr>
            <a:r>
              <a:rPr lang="nn-NO" dirty="0" err="1"/>
              <a:t>can</a:t>
            </a:r>
            <a:r>
              <a:rPr lang="nn-NO" dirty="0"/>
              <a:t> </a:t>
            </a:r>
            <a:r>
              <a:rPr lang="nn-NO" dirty="0" err="1"/>
              <a:t>create</a:t>
            </a:r>
            <a:r>
              <a:rPr lang="nn-NO" dirty="0"/>
              <a:t> </a:t>
            </a:r>
            <a:r>
              <a:rPr lang="nn-NO" dirty="0" err="1"/>
              <a:t>modules</a:t>
            </a:r>
            <a:r>
              <a:rPr lang="nn-NO" dirty="0"/>
              <a:t> and </a:t>
            </a:r>
            <a:r>
              <a:rPr lang="nn-NO" dirty="0" err="1"/>
              <a:t>libraries</a:t>
            </a:r>
            <a:endParaRPr lang="nn-NO" dirty="0"/>
          </a:p>
          <a:p>
            <a:pPr marL="342900" indent="-342900">
              <a:buFontTx/>
              <a:buChar char="-"/>
            </a:pPr>
            <a:r>
              <a:rPr lang="nn-NO" dirty="0"/>
              <a:t>generates ARM </a:t>
            </a:r>
            <a:r>
              <a:rPr lang="nn-NO" dirty="0" err="1"/>
              <a:t>templates</a:t>
            </a:r>
            <a:r>
              <a:rPr lang="nn-NO" dirty="0"/>
              <a:t> </a:t>
            </a:r>
            <a:r>
              <a:rPr lang="nn-NO" dirty="0" err="1"/>
              <a:t>when</a:t>
            </a:r>
            <a:r>
              <a:rPr lang="nn-NO" dirty="0"/>
              <a:t> </a:t>
            </a:r>
            <a:r>
              <a:rPr lang="nn-NO" dirty="0" err="1"/>
              <a:t>compiled</a:t>
            </a:r>
            <a:endParaRPr lang="nn-NO" dirty="0"/>
          </a:p>
          <a:p>
            <a:pPr marL="342900" indent="-342900">
              <a:buFontTx/>
              <a:buChar char="-"/>
            </a:pPr>
            <a:r>
              <a:rPr lang="nn-NO" dirty="0" err="1"/>
              <a:t>supports</a:t>
            </a:r>
            <a:r>
              <a:rPr lang="nn-NO" dirty="0"/>
              <a:t> all </a:t>
            </a:r>
            <a:r>
              <a:rPr lang="nn-NO" dirty="0" err="1"/>
              <a:t>new</a:t>
            </a:r>
            <a:r>
              <a:rPr lang="nn-NO" dirty="0"/>
              <a:t> Azure services (</a:t>
            </a:r>
            <a:r>
              <a:rPr lang="nn-NO" dirty="0" err="1"/>
              <a:t>allegedly</a:t>
            </a:r>
            <a:r>
              <a:rPr lang="nn-NO" dirty="0"/>
              <a:t>…)</a:t>
            </a:r>
          </a:p>
        </p:txBody>
      </p:sp>
      <p:pic>
        <p:nvPicPr>
          <p:cNvPr id="5122" name="Picture 2" descr="Bicep Logo">
            <a:extLst>
              <a:ext uri="{FF2B5EF4-FFF2-40B4-BE49-F238E27FC236}">
                <a16:creationId xmlns:a16="http://schemas.microsoft.com/office/drawing/2014/main" id="{B3A4662F-1922-D3C9-2005-FC9332821F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8983" y="1161430"/>
            <a:ext cx="2130425" cy="2130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857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43F45479-79FF-0ECE-6BCC-75E4FACADEE2}"/>
              </a:ext>
            </a:extLst>
          </p:cNvPr>
          <p:cNvSpPr>
            <a:spLocks noGrp="1"/>
          </p:cNvSpPr>
          <p:nvPr>
            <p:ph type="pic" sz="quarter" idx="10"/>
          </p:nvPr>
        </p:nvSpPr>
        <p:spPr/>
      </p:sp>
      <p:sp>
        <p:nvSpPr>
          <p:cNvPr id="3" name="Tittel 2">
            <a:extLst>
              <a:ext uri="{FF2B5EF4-FFF2-40B4-BE49-F238E27FC236}">
                <a16:creationId xmlns:a16="http://schemas.microsoft.com/office/drawing/2014/main" id="{F345BB0B-EFC6-AF95-7D4F-0D827CCEA5D1}"/>
              </a:ext>
            </a:extLst>
          </p:cNvPr>
          <p:cNvSpPr>
            <a:spLocks noGrp="1"/>
          </p:cNvSpPr>
          <p:nvPr>
            <p:ph type="title"/>
          </p:nvPr>
        </p:nvSpPr>
        <p:spPr/>
        <p:txBody>
          <a:bodyPr/>
          <a:lstStyle/>
          <a:p>
            <a:endParaRPr lang="nb-NO"/>
          </a:p>
        </p:txBody>
      </p:sp>
      <p:sp>
        <p:nvSpPr>
          <p:cNvPr id="4" name="Plassholder for tekst 3">
            <a:extLst>
              <a:ext uri="{FF2B5EF4-FFF2-40B4-BE49-F238E27FC236}">
                <a16:creationId xmlns:a16="http://schemas.microsoft.com/office/drawing/2014/main" id="{D527C0E1-DB20-959C-F1DB-3D2F970CB678}"/>
              </a:ext>
            </a:extLst>
          </p:cNvPr>
          <p:cNvSpPr>
            <a:spLocks noGrp="1"/>
          </p:cNvSpPr>
          <p:nvPr>
            <p:ph type="body" sz="quarter" idx="11"/>
          </p:nvPr>
        </p:nvSpPr>
        <p:spPr/>
        <p:txBody>
          <a:bodyPr/>
          <a:lstStyle/>
          <a:p>
            <a:endParaRPr lang="nb-NO"/>
          </a:p>
        </p:txBody>
      </p:sp>
      <p:pic>
        <p:nvPicPr>
          <p:cNvPr id="3074" name="Picture 2" descr="High Level Deployment Flow">
            <a:extLst>
              <a:ext uri="{FF2B5EF4-FFF2-40B4-BE49-F238E27FC236}">
                <a16:creationId xmlns:a16="http://schemas.microsoft.com/office/drawing/2014/main" id="{480A1D34-C88B-4D0A-14FD-643E99718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0638"/>
            <a:ext cx="12192000" cy="6816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8080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EDBC27-1FA2-439F-BF40-1D9ADCEF711F}"/>
              </a:ext>
            </a:extLst>
          </p:cNvPr>
          <p:cNvSpPr>
            <a:spLocks noGrp="1"/>
          </p:cNvSpPr>
          <p:nvPr>
            <p:ph type="title"/>
          </p:nvPr>
        </p:nvSpPr>
        <p:spPr/>
        <p:txBody>
          <a:bodyPr/>
          <a:lstStyle/>
          <a:p>
            <a:r>
              <a:rPr lang="nn-NO" dirty="0" err="1"/>
              <a:t>Everything</a:t>
            </a:r>
            <a:r>
              <a:rPr lang="nn-NO" dirty="0"/>
              <a:t> is </a:t>
            </a:r>
            <a:r>
              <a:rPr lang="nn-NO" dirty="0" err="1"/>
              <a:t>code</a:t>
            </a:r>
            <a:endParaRPr lang="nb-NO" dirty="0"/>
          </a:p>
        </p:txBody>
      </p:sp>
      <p:sp>
        <p:nvSpPr>
          <p:cNvPr id="6" name="TextBox 5">
            <a:extLst>
              <a:ext uri="{FF2B5EF4-FFF2-40B4-BE49-F238E27FC236}">
                <a16:creationId xmlns:a16="http://schemas.microsoft.com/office/drawing/2014/main" id="{60EE681F-9BBC-4240-B288-E1486907279E}"/>
              </a:ext>
            </a:extLst>
          </p:cNvPr>
          <p:cNvSpPr txBox="1"/>
          <p:nvPr/>
        </p:nvSpPr>
        <p:spPr>
          <a:xfrm>
            <a:off x="911424" y="2276872"/>
            <a:ext cx="9721080" cy="2308324"/>
          </a:xfrm>
          <a:prstGeom prst="rect">
            <a:avLst/>
          </a:prstGeom>
          <a:noFill/>
        </p:spPr>
        <p:txBody>
          <a:bodyPr wrap="square" rtlCol="0">
            <a:spAutoFit/>
          </a:bodyPr>
          <a:lstStyle/>
          <a:p>
            <a:pPr algn="ctr"/>
            <a:r>
              <a:rPr lang="nn-NO" sz="7200" dirty="0"/>
              <a:t>This is </a:t>
            </a:r>
            <a:r>
              <a:rPr lang="nn-NO" sz="7200" dirty="0" err="1"/>
              <a:t>where</a:t>
            </a:r>
            <a:r>
              <a:rPr lang="nn-NO" sz="7200" dirty="0"/>
              <a:t> a </a:t>
            </a:r>
            <a:r>
              <a:rPr lang="nn-NO" sz="7200" dirty="0" err="1"/>
              <a:t>demo</a:t>
            </a:r>
            <a:r>
              <a:rPr lang="nn-NO" sz="7200" dirty="0"/>
              <a:t> </a:t>
            </a:r>
            <a:r>
              <a:rPr lang="nn-NO" sz="7200" dirty="0" err="1"/>
              <a:t>would</a:t>
            </a:r>
            <a:r>
              <a:rPr lang="nn-NO" sz="7200" dirty="0"/>
              <a:t> </a:t>
            </a:r>
            <a:r>
              <a:rPr lang="nn-NO" sz="7200" dirty="0" err="1"/>
              <a:t>appear</a:t>
            </a:r>
            <a:endParaRPr lang="nb-NO" dirty="0"/>
          </a:p>
        </p:txBody>
      </p:sp>
    </p:spTree>
    <p:extLst>
      <p:ext uri="{BB962C8B-B14F-4D97-AF65-F5344CB8AC3E}">
        <p14:creationId xmlns:p14="http://schemas.microsoft.com/office/powerpoint/2010/main" val="2327000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Cloud Adoption framework</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2" y="2924944"/>
            <a:ext cx="6123235" cy="2952328"/>
          </a:xfrm>
        </p:spPr>
        <p:txBody>
          <a:bodyPr>
            <a:normAutofit/>
          </a:bodyPr>
          <a:lstStyle/>
          <a:p>
            <a:pPr lvl="0"/>
            <a:r>
              <a:rPr lang="en-GB" dirty="0"/>
              <a:t>CAF is Microsoft’s set of recommendations, tools, blueprints and best practices.</a:t>
            </a:r>
          </a:p>
          <a:p>
            <a:pPr lvl="0"/>
            <a:endParaRPr lang="en-GB" dirty="0"/>
          </a:p>
          <a:p>
            <a:pPr lvl="0"/>
            <a:r>
              <a:rPr lang="en-GB" dirty="0"/>
              <a:t>Builds on top of WAF – Well Architected Framework</a:t>
            </a:r>
          </a:p>
          <a:p>
            <a:pPr lvl="0"/>
            <a:endParaRPr lang="en-GB" dirty="0"/>
          </a:p>
          <a:p>
            <a:pPr lvl="0"/>
            <a:r>
              <a:rPr lang="en-GB" dirty="0"/>
              <a:t>Every cloud vendor has their own (surprise…)</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pic>
        <p:nvPicPr>
          <p:cNvPr id="17" name="Plassholder for bilde 16" descr="Et bilde som inneholder tekst&#10;&#10;Automatisk generert beskrivelse">
            <a:extLst>
              <a:ext uri="{FF2B5EF4-FFF2-40B4-BE49-F238E27FC236}">
                <a16:creationId xmlns:a16="http://schemas.microsoft.com/office/drawing/2014/main" id="{60F918EA-6364-608A-AD54-880A4BC83BF0}"/>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5803" t="-168" r="33409" b="168"/>
          <a:stretch/>
        </p:blipFill>
        <p:spPr>
          <a:xfrm>
            <a:off x="7223124" y="0"/>
            <a:ext cx="4968876" cy="6858000"/>
          </a:xfrm>
        </p:spPr>
      </p:pic>
      <p:sp>
        <p:nvSpPr>
          <p:cNvPr id="18" name="TekstSylinder 17">
            <a:extLst>
              <a:ext uri="{FF2B5EF4-FFF2-40B4-BE49-F238E27FC236}">
                <a16:creationId xmlns:a16="http://schemas.microsoft.com/office/drawing/2014/main" id="{1F5AB3D0-9C9E-DE48-0983-7E77FA622655}"/>
              </a:ext>
            </a:extLst>
          </p:cNvPr>
          <p:cNvSpPr txBox="1"/>
          <p:nvPr/>
        </p:nvSpPr>
        <p:spPr>
          <a:xfrm>
            <a:off x="7223124" y="6858000"/>
            <a:ext cx="4968876" cy="230832"/>
          </a:xfrm>
          <a:prstGeom prst="rect">
            <a:avLst/>
          </a:prstGeom>
          <a:noFill/>
        </p:spPr>
        <p:txBody>
          <a:bodyPr wrap="square" rtlCol="0">
            <a:spAutoFit/>
          </a:bodyPr>
          <a:lstStyle/>
          <a:p>
            <a:r>
              <a:rPr lang="nb-NO" sz="900">
                <a:hlinkClick r:id="rId3" tooltip="https://www.techzim.co.zw/2019/09/liquid-telecom-moving-your-business-into-the-cloud-webinar-goes-live-today/"/>
              </a:rPr>
              <a:t>Dette bildet</a:t>
            </a:r>
            <a:r>
              <a:rPr lang="nb-NO" sz="900"/>
              <a:t> av Ukjent forfatter er lisensiert under </a:t>
            </a:r>
            <a:r>
              <a:rPr lang="nb-NO" sz="900">
                <a:hlinkClick r:id="rId4" tooltip="https://creativecommons.org/licenses/by-nc-nd/3.0/"/>
              </a:rPr>
              <a:t>CC BY-NC-ND</a:t>
            </a:r>
            <a:endParaRPr lang="nb-NO" sz="900"/>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IMING" val="|10.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67A246EA40D641968AF05D88601270" ma:contentTypeVersion="5" ma:contentTypeDescription="Create a new document." ma:contentTypeScope="" ma:versionID="53cf859874c9e9eb66f1536ff17a1e42">
  <xsd:schema xmlns:xsd="http://www.w3.org/2001/XMLSchema" xmlns:xs="http://www.w3.org/2001/XMLSchema" xmlns:p="http://schemas.microsoft.com/office/2006/metadata/properties" xmlns:ns2="8acc5289-9d9c-4f47-aaec-d11cabd73ab5" targetNamespace="http://schemas.microsoft.com/office/2006/metadata/properties" ma:root="true" ma:fieldsID="4a9b32920c6bff8d1374e5ba8d8084a4" ns2:_="">
    <xsd:import namespace="8acc5289-9d9c-4f47-aaec-d11cabd73ab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cc5289-9d9c-4f47-aaec-d11cabd73a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1E91E2-8E70-4E2A-A65C-54AC2272F9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cc5289-9d9c-4f47-aaec-d11cabd73a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 Global Template Test</Template>
  <TotalTime>5788</TotalTime>
  <Words>1164</Words>
  <Application>Microsoft Macintosh PowerPoint</Application>
  <PresentationFormat>Widescreen</PresentationFormat>
  <Paragraphs>240</Paragraphs>
  <Slides>46</Slides>
  <Notes>2</Notes>
  <HiddenSlides>0</HiddenSlides>
  <MMClips>0</MMClips>
  <ScaleCrop>false</ScaleCrop>
  <HeadingPairs>
    <vt:vector size="8" baseType="variant">
      <vt:variant>
        <vt:lpstr>Brukte skrifter</vt:lpstr>
      </vt:variant>
      <vt:variant>
        <vt:i4>10</vt:i4>
      </vt:variant>
      <vt:variant>
        <vt:lpstr>Tema</vt:lpstr>
      </vt:variant>
      <vt:variant>
        <vt:i4>2</vt:i4>
      </vt:variant>
      <vt:variant>
        <vt:lpstr>Innebygde OLE-servere</vt:lpstr>
      </vt:variant>
      <vt:variant>
        <vt:i4>1</vt:i4>
      </vt:variant>
      <vt:variant>
        <vt:lpstr>Lysbildetitler</vt:lpstr>
      </vt:variant>
      <vt:variant>
        <vt:i4>46</vt:i4>
      </vt:variant>
    </vt:vector>
  </HeadingPairs>
  <TitlesOfParts>
    <vt:vector size="59" baseType="lpstr">
      <vt:lpstr>Ubuntu Light</vt:lpstr>
      <vt:lpstr>Ubuntu</vt:lpstr>
      <vt:lpstr>Graphik Meetup</vt:lpstr>
      <vt:lpstr>Calibri</vt:lpstr>
      <vt:lpstr>Open Sans</vt:lpstr>
      <vt:lpstr>Arial</vt:lpstr>
      <vt:lpstr>Wingdings</vt:lpstr>
      <vt:lpstr>Segoe UI</vt:lpstr>
      <vt:lpstr>Ubuntu Medium</vt:lpstr>
      <vt:lpstr>Verdana</vt:lpstr>
      <vt:lpstr>Capgemini Master 2021</vt:lpstr>
      <vt:lpstr>Cover options_Section</vt:lpstr>
      <vt:lpstr>think-cell Slide</vt:lpstr>
      <vt:lpstr>Introducing Azure Cloud Adoption Framework</vt:lpstr>
      <vt:lpstr>Agenda</vt:lpstr>
      <vt:lpstr>Everything is code</vt:lpstr>
      <vt:lpstr>Everything is code</vt:lpstr>
      <vt:lpstr>Everything is code</vt:lpstr>
      <vt:lpstr>Everything is code</vt:lpstr>
      <vt:lpstr>PowerPoint-presentasjon</vt:lpstr>
      <vt:lpstr>Everything is code</vt:lpstr>
      <vt:lpstr>Cloud Adoption framework</vt:lpstr>
      <vt:lpstr>Cloud adoption framework Life cycle</vt:lpstr>
      <vt:lpstr>Cloud adoption framework - READY</vt:lpstr>
      <vt:lpstr>CLOUD Adoption Framework</vt:lpstr>
      <vt:lpstr>Cloud adoption framework</vt:lpstr>
      <vt:lpstr>Cloud adoption framework</vt:lpstr>
      <vt:lpstr>Cloud adoption framework - READY</vt:lpstr>
      <vt:lpstr>Design Considerations</vt:lpstr>
      <vt:lpstr>PowerPoint-presentasjon</vt:lpstr>
      <vt:lpstr>Cloud adoption framework - READY</vt:lpstr>
      <vt:lpstr>Cloud adoption framework - READY</vt:lpstr>
      <vt:lpstr>Cloud adoption framework</vt:lpstr>
      <vt:lpstr>Cloud Adoption Framework Platform</vt:lpstr>
      <vt:lpstr>Cloud Adoption Framework Platform</vt:lpstr>
      <vt:lpstr>PowerPoint-presentasjon</vt:lpstr>
      <vt:lpstr>The Scenarios – Enterprise scale</vt:lpstr>
      <vt:lpstr>The Scenarios – Enterprise scale</vt:lpstr>
      <vt:lpstr>TODAY’s Scenario: Cloud scale analytics </vt:lpstr>
      <vt:lpstr>TODAY’s Scenario: Cloud scale analytics </vt:lpstr>
      <vt:lpstr>TODAY’s Scenario: Cloud scale analytics </vt:lpstr>
      <vt:lpstr>TODAY’s Scenario: Cloud-scale analytics </vt:lpstr>
      <vt:lpstr>TODAY’s Scenario: Cloud-scale analytics </vt:lpstr>
      <vt:lpstr>Cloud adoption framework - READY</vt:lpstr>
      <vt:lpstr>TODAY’s Scenario: Cloud scale analytics </vt:lpstr>
      <vt:lpstr>TODAY’s Scenario: Cloud scale analytics </vt:lpstr>
      <vt:lpstr>TODAY’s Scenario: Cloud scale analytics </vt:lpstr>
      <vt:lpstr>TODAY’s Scenario: Cloud scale analytics </vt:lpstr>
      <vt:lpstr>TODAY’s Scenario: Cloud scale analytics </vt:lpstr>
      <vt:lpstr>TODAY’s Scenario: Cloud scale analytics </vt:lpstr>
      <vt:lpstr>TODAY’s Scenario: Cloud scale analytics </vt:lpstr>
      <vt:lpstr>TODAY’s Scenario: Cloud scale analytics </vt:lpstr>
      <vt:lpstr>TODAY’s Scenario: Cloud scale analytics </vt:lpstr>
      <vt:lpstr>Cloud adoption framework - READY</vt:lpstr>
      <vt:lpstr>TODAY’s Scenario: Cloud scale analytics </vt:lpstr>
      <vt:lpstr>TODAY’s Scenario: Cloud scale analytics </vt:lpstr>
      <vt:lpstr>The end</vt:lpstr>
      <vt:lpstr>PowerPoint-presentasjon</vt:lpstr>
      <vt:lpstr>Link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Brattås, Johan Ludvig</dc:creator>
  <cp:lastModifiedBy>Brattås, Johan Ludvig</cp:lastModifiedBy>
  <cp:revision>2</cp:revision>
  <dcterms:created xsi:type="dcterms:W3CDTF">2022-03-06T19:58:32Z</dcterms:created>
  <dcterms:modified xsi:type="dcterms:W3CDTF">2022-05-18T19:14:31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67A246EA40D641968AF05D88601270</vt:lpwstr>
  </property>
</Properties>
</file>